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ink/ink1.xml" ContentType="application/inkml+xml"/>
  <Override PartName="/ppt/theme/theme4.xml" ContentType="application/vnd.openxmlformats-officedocument.theme+xml"/>
  <Override PartName="/ppt/theme/theme5.xml" ContentType="application/vnd.openxmlformats-officedocument.theme+xml"/>
  <Override PartName="/ppt/ink/ink2.xml" ContentType="application/inkml+xml"/>
  <Override PartName="/ppt/ink/ink3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4"/>
    <p:sldMasterId id="2147483671" r:id="rId5"/>
    <p:sldMasterId id="2147483684" r:id="rId6"/>
  </p:sldMasterIdLst>
  <p:notesMasterIdLst>
    <p:notesMasterId r:id="rId18"/>
  </p:notesMasterIdLst>
  <p:handoutMasterIdLst>
    <p:handoutMasterId r:id="rId19"/>
  </p:handoutMasterIdLst>
  <p:sldIdLst>
    <p:sldId id="256" r:id="rId7"/>
    <p:sldId id="469" r:id="rId8"/>
    <p:sldId id="468" r:id="rId9"/>
    <p:sldId id="482" r:id="rId10"/>
    <p:sldId id="476" r:id="rId11"/>
    <p:sldId id="480" r:id="rId12"/>
    <p:sldId id="471" r:id="rId13"/>
    <p:sldId id="474" r:id="rId14"/>
    <p:sldId id="473" r:id="rId15"/>
    <p:sldId id="478" r:id="rId16"/>
    <p:sldId id="479" r:id="rId17"/>
  </p:sldIdLst>
  <p:sldSz cx="12192000" cy="6858000"/>
  <p:notesSz cx="6794500" cy="9906000"/>
  <p:custDataLst>
    <p:tags r:id="rId20"/>
  </p:custDataLst>
  <p:defaultTextStyle>
    <a:defPPr>
      <a:defRPr lang="ru-RU"/>
    </a:defPPr>
    <a:lvl1pPr marL="0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6991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3982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0973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7964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4955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1946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198937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5929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F03D1C02-082A-43DE-8A21-9E77944D1D9B}">
          <p14:sldIdLst>
            <p14:sldId id="256"/>
            <p14:sldId id="469"/>
            <p14:sldId id="468"/>
            <p14:sldId id="482"/>
            <p14:sldId id="476"/>
            <p14:sldId id="480"/>
            <p14:sldId id="471"/>
            <p14:sldId id="474"/>
            <p14:sldId id="473"/>
            <p14:sldId id="478"/>
            <p14:sldId id="47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5137"/>
    <a:srgbClr val="088054"/>
    <a:srgbClr val="006F3C"/>
    <a:srgbClr val="EDC531"/>
    <a:srgbClr val="70BF3D"/>
    <a:srgbClr val="000000"/>
    <a:srgbClr val="4DBB50"/>
    <a:srgbClr val="F7E45B"/>
    <a:srgbClr val="F5DC27"/>
    <a:srgbClr val="ADAD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55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57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2856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44813" cy="496888"/>
          </a:xfrm>
          <a:prstGeom prst="rect">
            <a:avLst/>
          </a:prstGeom>
        </p:spPr>
        <p:txBody>
          <a:bodyPr vert="horz" lIns="91411" tIns="45708" rIns="91411" bIns="4570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8103" y="3"/>
            <a:ext cx="2944813" cy="496888"/>
          </a:xfrm>
          <a:prstGeom prst="rect">
            <a:avLst/>
          </a:prstGeom>
        </p:spPr>
        <p:txBody>
          <a:bodyPr vert="horz" lIns="91411" tIns="45708" rIns="91411" bIns="45708" rtlCol="0"/>
          <a:lstStyle>
            <a:lvl1pPr algn="r">
              <a:defRPr sz="1200"/>
            </a:lvl1pPr>
          </a:lstStyle>
          <a:p>
            <a:fld id="{E9D7071E-91D7-4537-9A4C-D371EDEA6758}" type="datetimeFigureOut">
              <a:rPr lang="ru-RU" smtClean="0"/>
              <a:t>08.12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9409116"/>
            <a:ext cx="2944813" cy="496887"/>
          </a:xfrm>
          <a:prstGeom prst="rect">
            <a:avLst/>
          </a:prstGeom>
        </p:spPr>
        <p:txBody>
          <a:bodyPr vert="horz" lIns="91411" tIns="45708" rIns="91411" bIns="4570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8103" y="9409116"/>
            <a:ext cx="2944813" cy="496887"/>
          </a:xfrm>
          <a:prstGeom prst="rect">
            <a:avLst/>
          </a:prstGeom>
        </p:spPr>
        <p:txBody>
          <a:bodyPr vert="horz" lIns="91411" tIns="45708" rIns="91411" bIns="45708" rtlCol="0" anchor="b"/>
          <a:lstStyle>
            <a:lvl1pPr algn="r">
              <a:defRPr sz="1200"/>
            </a:lvl1pPr>
          </a:lstStyle>
          <a:p>
            <a:fld id="{6ECEE9C9-BF9C-46BF-BEC3-A470B1DBFF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544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2-19T09:33:23.611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9 2 64 0 0,'0'0'5477'0'0,"-9"-1"-4678"0"0,18 2-7139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10T12:17:33.52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-2147483648-2147483648 28 0 0,'0'0'0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10T12:17:33.52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-2147483648-2147483648 28 0 0,'0'0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2944283" cy="497020"/>
          </a:xfrm>
          <a:prstGeom prst="rect">
            <a:avLst/>
          </a:prstGeom>
        </p:spPr>
        <p:txBody>
          <a:bodyPr vert="horz" lIns="91402" tIns="45704" rIns="91402" bIns="4570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9" y="0"/>
            <a:ext cx="2944283" cy="497020"/>
          </a:xfrm>
          <a:prstGeom prst="rect">
            <a:avLst/>
          </a:prstGeom>
        </p:spPr>
        <p:txBody>
          <a:bodyPr vert="horz" lIns="91402" tIns="45704" rIns="91402" bIns="45704" rtlCol="0"/>
          <a:lstStyle>
            <a:lvl1pPr algn="r">
              <a:defRPr sz="1200"/>
            </a:lvl1pPr>
          </a:lstStyle>
          <a:p>
            <a:fld id="{4F7F2413-2329-447C-B4CB-3A9B5E80005E}" type="datetimeFigureOut">
              <a:rPr lang="ru-RU" smtClean="0"/>
              <a:t>08.1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2" tIns="45704" rIns="91402" bIns="4570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67266"/>
            <a:ext cx="5435600" cy="3900488"/>
          </a:xfrm>
          <a:prstGeom prst="rect">
            <a:avLst/>
          </a:prstGeom>
        </p:spPr>
        <p:txBody>
          <a:bodyPr vert="horz" lIns="91402" tIns="45704" rIns="91402" bIns="4570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08981"/>
            <a:ext cx="2944283" cy="497019"/>
          </a:xfrm>
          <a:prstGeom prst="rect">
            <a:avLst/>
          </a:prstGeom>
        </p:spPr>
        <p:txBody>
          <a:bodyPr vert="horz" lIns="91402" tIns="45704" rIns="91402" bIns="4570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9" y="9408981"/>
            <a:ext cx="2944283" cy="497019"/>
          </a:xfrm>
          <a:prstGeom prst="rect">
            <a:avLst/>
          </a:prstGeom>
        </p:spPr>
        <p:txBody>
          <a:bodyPr vert="horz" lIns="91402" tIns="45704" rIns="91402" bIns="45704" rtlCol="0" anchor="b"/>
          <a:lstStyle>
            <a:lvl1pPr algn="r">
              <a:defRPr sz="1200"/>
            </a:lvl1pPr>
          </a:lstStyle>
          <a:p>
            <a:fld id="{8B5DB034-CAA2-40AE-892B-ECC45BD26AE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34795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91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982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973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964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955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946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937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929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customXml" Target="../ink/ink1.xml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10525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52B69A64-0B09-4317-B015-CBBFE0FC1D4D}"/>
              </a:ext>
            </a:extLst>
          </p:cNvPr>
          <p:cNvSpPr/>
          <p:nvPr userDrawn="1"/>
        </p:nvSpPr>
        <p:spPr bwMode="auto">
          <a:xfrm>
            <a:off x="342254" y="2519201"/>
            <a:ext cx="49213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553">
              <a:defRPr/>
            </a:pPr>
            <a:endParaRPr lang="ru-RU" sz="8273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F38AB24D-97EE-4071-B80D-2624DCD3CFB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65" r="76724" b="1"/>
          <a:stretch/>
        </p:blipFill>
        <p:spPr bwMode="auto">
          <a:xfrm>
            <a:off x="334963" y="209551"/>
            <a:ext cx="614744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9" name="Группа 28"/>
          <p:cNvGrpSpPr/>
          <p:nvPr userDrawn="1"/>
        </p:nvGrpSpPr>
        <p:grpSpPr>
          <a:xfrm>
            <a:off x="10424753" y="2519201"/>
            <a:ext cx="1432285" cy="1162212"/>
            <a:chOff x="8163549" y="4481025"/>
            <a:chExt cx="1432285" cy="1584000"/>
          </a:xfrm>
        </p:grpSpPr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163549" y="4481025"/>
              <a:ext cx="177146" cy="158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406841" y="4481025"/>
              <a:ext cx="18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451830" y="4481025"/>
              <a:ext cx="90000" cy="158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687809" y="4481025"/>
              <a:ext cx="54000" cy="1584000"/>
            </a:xfrm>
            <a:prstGeom prst="rect">
              <a:avLst/>
            </a:prstGeom>
            <a:solidFill>
              <a:srgbClr val="65BA6D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816927" y="4481025"/>
              <a:ext cx="18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/>
          </p:nvSpPr>
          <p:spPr bwMode="auto">
            <a:xfrm>
              <a:off x="8867254" y="4481025"/>
              <a:ext cx="126000" cy="158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9115075" y="4481025"/>
              <a:ext cx="54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9024783" y="4481025"/>
              <a:ext cx="36000" cy="158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9222075" y="4481025"/>
              <a:ext cx="306000" cy="158400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9559834" y="4481025"/>
              <a:ext cx="36000" cy="1584000"/>
            </a:xfrm>
            <a:prstGeom prst="rect">
              <a:avLst/>
            </a:prstGeom>
            <a:solidFill>
              <a:srgbClr val="6AA74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9" name="Picture 2" descr="http://www.kgsha.ru/upload/iblock/45e/45ecace79ad4389d1a23893b87f58251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50" t="17505" r="1250" b="34899"/>
          <a:stretch/>
        </p:blipFill>
        <p:spPr bwMode="auto">
          <a:xfrm>
            <a:off x="-152400" y="1052513"/>
            <a:ext cx="12357100" cy="4094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олилиния 2"/>
          <p:cNvSpPr/>
          <p:nvPr userDrawn="1"/>
        </p:nvSpPr>
        <p:spPr>
          <a:xfrm>
            <a:off x="3721100" y="1074739"/>
            <a:ext cx="4055872" cy="2307137"/>
          </a:xfrm>
          <a:custGeom>
            <a:avLst/>
            <a:gdLst>
              <a:gd name="connsiteX0" fmla="*/ 952500 w 3810000"/>
              <a:gd name="connsiteY0" fmla="*/ 3594100 h 3594100"/>
              <a:gd name="connsiteX1" fmla="*/ 3632200 w 3810000"/>
              <a:gd name="connsiteY1" fmla="*/ 1219200 h 3594100"/>
              <a:gd name="connsiteX2" fmla="*/ 3810000 w 3810000"/>
              <a:gd name="connsiteY2" fmla="*/ 0 h 3594100"/>
              <a:gd name="connsiteX3" fmla="*/ 3060700 w 3810000"/>
              <a:gd name="connsiteY3" fmla="*/ 114300 h 3594100"/>
              <a:gd name="connsiteX4" fmla="*/ 0 w 3810000"/>
              <a:gd name="connsiteY4" fmla="*/ 2857500 h 3594100"/>
              <a:gd name="connsiteX5" fmla="*/ 952500 w 3810000"/>
              <a:gd name="connsiteY5" fmla="*/ 3594100 h 3594100"/>
              <a:gd name="connsiteX0" fmla="*/ 952500 w 3632200"/>
              <a:gd name="connsiteY0" fmla="*/ 3479800 h 3479800"/>
              <a:gd name="connsiteX1" fmla="*/ 3632200 w 3632200"/>
              <a:gd name="connsiteY1" fmla="*/ 1104900 h 3479800"/>
              <a:gd name="connsiteX2" fmla="*/ 2217460 w 3632200"/>
              <a:gd name="connsiteY2" fmla="*/ 1478163 h 3479800"/>
              <a:gd name="connsiteX3" fmla="*/ 3060700 w 3632200"/>
              <a:gd name="connsiteY3" fmla="*/ 0 h 3479800"/>
              <a:gd name="connsiteX4" fmla="*/ 0 w 3632200"/>
              <a:gd name="connsiteY4" fmla="*/ 2743200 h 3479800"/>
              <a:gd name="connsiteX5" fmla="*/ 952500 w 3632200"/>
              <a:gd name="connsiteY5" fmla="*/ 3479800 h 3479800"/>
              <a:gd name="connsiteX0" fmla="*/ 952500 w 3188708"/>
              <a:gd name="connsiteY0" fmla="*/ 3479800 h 3479800"/>
              <a:gd name="connsiteX1" fmla="*/ 3188708 w 3188708"/>
              <a:gd name="connsiteY1" fmla="*/ 1503016 h 3479800"/>
              <a:gd name="connsiteX2" fmla="*/ 2217460 w 3188708"/>
              <a:gd name="connsiteY2" fmla="*/ 1478163 h 3479800"/>
              <a:gd name="connsiteX3" fmla="*/ 3060700 w 3188708"/>
              <a:gd name="connsiteY3" fmla="*/ 0 h 3479800"/>
              <a:gd name="connsiteX4" fmla="*/ 0 w 3188708"/>
              <a:gd name="connsiteY4" fmla="*/ 2743200 h 3479800"/>
              <a:gd name="connsiteX5" fmla="*/ 952500 w 3188708"/>
              <a:gd name="connsiteY5" fmla="*/ 3479800 h 3479800"/>
              <a:gd name="connsiteX0" fmla="*/ 952500 w 3188708"/>
              <a:gd name="connsiteY0" fmla="*/ 2008984 h 2008984"/>
              <a:gd name="connsiteX1" fmla="*/ 3188708 w 3188708"/>
              <a:gd name="connsiteY1" fmla="*/ 32200 h 2008984"/>
              <a:gd name="connsiteX2" fmla="*/ 2217460 w 3188708"/>
              <a:gd name="connsiteY2" fmla="*/ 7347 h 2008984"/>
              <a:gd name="connsiteX3" fmla="*/ 1427843 w 3188708"/>
              <a:gd name="connsiteY3" fmla="*/ 0 h 2008984"/>
              <a:gd name="connsiteX4" fmla="*/ 0 w 3188708"/>
              <a:gd name="connsiteY4" fmla="*/ 1272384 h 2008984"/>
              <a:gd name="connsiteX5" fmla="*/ 952500 w 3188708"/>
              <a:gd name="connsiteY5" fmla="*/ 2008984 h 2008984"/>
              <a:gd name="connsiteX0" fmla="*/ 952500 w 3218946"/>
              <a:gd name="connsiteY0" fmla="*/ 2008984 h 2008984"/>
              <a:gd name="connsiteX1" fmla="*/ 3218946 w 3218946"/>
              <a:gd name="connsiteY1" fmla="*/ 21141 h 2008984"/>
              <a:gd name="connsiteX2" fmla="*/ 2217460 w 3218946"/>
              <a:gd name="connsiteY2" fmla="*/ 7347 h 2008984"/>
              <a:gd name="connsiteX3" fmla="*/ 1427843 w 3218946"/>
              <a:gd name="connsiteY3" fmla="*/ 0 h 2008984"/>
              <a:gd name="connsiteX4" fmla="*/ 0 w 3218946"/>
              <a:gd name="connsiteY4" fmla="*/ 1272384 h 2008984"/>
              <a:gd name="connsiteX5" fmla="*/ 952500 w 3218946"/>
              <a:gd name="connsiteY5" fmla="*/ 2008984 h 2008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18946" h="2008984">
                <a:moveTo>
                  <a:pt x="952500" y="2008984"/>
                </a:moveTo>
                <a:lnTo>
                  <a:pt x="3218946" y="21141"/>
                </a:lnTo>
                <a:lnTo>
                  <a:pt x="2217460" y="7347"/>
                </a:lnTo>
                <a:lnTo>
                  <a:pt x="1427843" y="0"/>
                </a:lnTo>
                <a:lnTo>
                  <a:pt x="0" y="1272384"/>
                </a:lnTo>
                <a:lnTo>
                  <a:pt x="952500" y="2008984"/>
                </a:lnTo>
                <a:close/>
              </a:path>
            </a:pathLst>
          </a:custGeom>
          <a:gradFill>
            <a:gsLst>
              <a:gs pos="0">
                <a:srgbClr val="EDE7CF"/>
              </a:gs>
              <a:gs pos="33000">
                <a:srgbClr val="FAF3E0"/>
              </a:gs>
              <a:gs pos="72000">
                <a:srgbClr val="FAF5E1"/>
              </a:gs>
              <a:gs pos="100000">
                <a:srgbClr val="FAF1E0"/>
              </a:gs>
            </a:gsLst>
            <a:lin ang="5400000" scaled="1"/>
          </a:gradFill>
          <a:ln>
            <a:solidFill>
              <a:srgbClr val="F6EF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1498" y="5456193"/>
            <a:ext cx="2598737" cy="756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3645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71" userDrawn="1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8375" y="1184356"/>
            <a:ext cx="11216781" cy="470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xmlns="" id="{83CF06EB-5EE3-8949-8FAA-E6C367FD7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xmlns="" id="{5422EE46-4852-654F-BBAC-16A88996880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">
            <a:extLst>
              <a:ext uri="{FF2B5EF4-FFF2-40B4-BE49-F238E27FC236}">
                <a16:creationId xmlns:a16="http://schemas.microsoft.com/office/drawing/2014/main" xmlns="" id="{C9FEC551-C54B-3D48-92BB-DD4BECE2A838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12241149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77851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 (с источникам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8375" y="1184356"/>
            <a:ext cx="11216781" cy="470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xmlns="" id="{FD7CE1A9-368B-D54E-AF20-B53F69BF23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71896" y="6084533"/>
            <a:ext cx="8640000" cy="198000"/>
          </a:xfrm>
        </p:spPr>
        <p:txBody>
          <a:bodyPr>
            <a:noAutofit/>
          </a:bodyPr>
          <a:lstStyle>
            <a:lvl1pPr marL="0" indent="0">
              <a:buNone/>
              <a:defRPr sz="1067"/>
            </a:lvl1pPr>
          </a:lstStyle>
          <a:p>
            <a:pPr lvl="0"/>
            <a:r>
              <a:rPr lang="ru-RU" dirty="0"/>
              <a:t>Примечания:</a:t>
            </a:r>
          </a:p>
        </p:txBody>
      </p:sp>
      <p:sp>
        <p:nvSpPr>
          <p:cNvPr id="15" name="Текст 14">
            <a:extLst>
              <a:ext uri="{FF2B5EF4-FFF2-40B4-BE49-F238E27FC236}">
                <a16:creationId xmlns:a16="http://schemas.microsoft.com/office/drawing/2014/main" xmlns="" id="{BE4DE22B-CCA5-F04B-875F-3A35BDEAC5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1896" y="6338313"/>
            <a:ext cx="8640000" cy="190800"/>
          </a:xfrm>
        </p:spPr>
        <p:txBody>
          <a:bodyPr>
            <a:noAutofit/>
          </a:bodyPr>
          <a:lstStyle>
            <a:lvl1pPr marL="0" indent="0">
              <a:buNone/>
              <a:defRPr sz="1067"/>
            </a:lvl1pPr>
          </a:lstStyle>
          <a:p>
            <a:pPr lvl="0"/>
            <a:r>
              <a:rPr lang="ru-RU" dirty="0"/>
              <a:t>Источники: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xmlns="" id="{83CF06EB-5EE3-8949-8FAA-E6C367FD7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xmlns="" id="{51A182EA-A647-5944-B3D6-D6BEB83E0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">
            <a:extLst>
              <a:ext uri="{FF2B5EF4-FFF2-40B4-BE49-F238E27FC236}">
                <a16:creationId xmlns:a16="http://schemas.microsoft.com/office/drawing/2014/main" xmlns="" id="{D03C3D5E-1C95-9944-9F89-E643E865A32E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12241149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73045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9998" y="1184355"/>
            <a:ext cx="10905155" cy="470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E404567D-0537-3349-B064-47A44D45230A}"/>
              </a:ext>
            </a:extLst>
          </p:cNvPr>
          <p:cNvSpPr/>
          <p:nvPr userDrawn="1"/>
        </p:nvSpPr>
        <p:spPr bwMode="auto">
          <a:xfrm>
            <a:off x="533819" y="1178736"/>
            <a:ext cx="62523" cy="4704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03A83459-25CE-A945-8632-738B87031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xmlns="" id="{5E2C6538-081E-764C-8784-0B2FCC36C9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5">
            <a:extLst>
              <a:ext uri="{FF2B5EF4-FFF2-40B4-BE49-F238E27FC236}">
                <a16:creationId xmlns:a16="http://schemas.microsoft.com/office/drawing/2014/main" xmlns="" id="{031FA568-DBA6-504E-A3FA-905D83C1DE0A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12241149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93421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9067" y="1536805"/>
            <a:ext cx="5424000" cy="436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128" y="1046720"/>
            <a:ext cx="5424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xmlns="" id="{948CC32A-3869-7549-AFD3-B40554F494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12480" y="1536805"/>
            <a:ext cx="5424000" cy="436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6" name="Текст 4">
            <a:extLst>
              <a:ext uri="{FF2B5EF4-FFF2-40B4-BE49-F238E27FC236}">
                <a16:creationId xmlns:a16="http://schemas.microsoft.com/office/drawing/2014/main" xmlns="" id="{38740FF3-CF42-454B-9F45-EFEA5B9ECF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11541" y="1046720"/>
            <a:ext cx="5424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FDAB250A-92E2-3743-9FE8-4279AB5677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xmlns="" id="{1CBECC7A-4F49-B44B-BBC6-058816F929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5">
            <a:extLst>
              <a:ext uri="{FF2B5EF4-FFF2-40B4-BE49-F238E27FC236}">
                <a16:creationId xmlns:a16="http://schemas.microsoft.com/office/drawing/2014/main" xmlns="" id="{CF684F6D-8452-A049-8464-256DA563D6AC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12241149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1387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7835" y="1536511"/>
            <a:ext cx="10883664" cy="1680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896" y="1046426"/>
            <a:ext cx="10883664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xmlns="" id="{20D442CB-F2A1-9D4E-95BF-4F53909F02ED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747835" y="4197529"/>
            <a:ext cx="10883664" cy="1680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xmlns="" id="{8B817F43-A964-B045-A0BE-E94870B257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46896" y="3683998"/>
            <a:ext cx="10883664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CD5F301B-BDC4-0A44-851A-FEA40E84A4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DF3A0FDE-0811-BF41-9C6C-F9D65C1F00FB}"/>
              </a:ext>
            </a:extLst>
          </p:cNvPr>
          <p:cNvSpPr/>
          <p:nvPr userDrawn="1"/>
        </p:nvSpPr>
        <p:spPr bwMode="auto">
          <a:xfrm>
            <a:off x="533605" y="1172633"/>
            <a:ext cx="62400" cy="2064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399"/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1D7267AD-FD35-3747-A7B8-20FE7942550D}"/>
              </a:ext>
            </a:extLst>
          </p:cNvPr>
          <p:cNvSpPr/>
          <p:nvPr userDrawn="1"/>
        </p:nvSpPr>
        <p:spPr bwMode="auto">
          <a:xfrm>
            <a:off x="533605" y="3811803"/>
            <a:ext cx="62400" cy="20592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399"/>
          </a:p>
        </p:txBody>
      </p:sp>
      <p:pic>
        <p:nvPicPr>
          <p:cNvPr id="14" name="Picture 4">
            <a:extLst>
              <a:ext uri="{FF2B5EF4-FFF2-40B4-BE49-F238E27FC236}">
                <a16:creationId xmlns:a16="http://schemas.microsoft.com/office/drawing/2014/main" xmlns="" id="{81E5776F-F989-3C4A-8F6D-9C913CCAB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5">
            <a:extLst>
              <a:ext uri="{FF2B5EF4-FFF2-40B4-BE49-F238E27FC236}">
                <a16:creationId xmlns:a16="http://schemas.microsoft.com/office/drawing/2014/main" xmlns="" id="{4789F2AE-D6D8-A040-AFAF-490BB89D28D0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12241149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0845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9067" y="1536805"/>
            <a:ext cx="3500308" cy="4363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129" y="1046720"/>
            <a:ext cx="3500308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xmlns="" id="{948CC32A-3869-7549-AFD3-B40554F494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35063" y="1536805"/>
            <a:ext cx="3500308" cy="4363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6" name="Текст 4">
            <a:extLst>
              <a:ext uri="{FF2B5EF4-FFF2-40B4-BE49-F238E27FC236}">
                <a16:creationId xmlns:a16="http://schemas.microsoft.com/office/drawing/2014/main" xmlns="" id="{38740FF3-CF42-454B-9F45-EFEA5B9ECF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34125" y="1046720"/>
            <a:ext cx="3500308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xmlns="" id="{CDCE6197-042D-F341-8633-B13A8DBE3DF0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271607" y="1536805"/>
            <a:ext cx="3500308" cy="4363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xmlns="" id="{4ED0B954-BD60-8D47-8AEC-F39DBC39CC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70669" y="1046720"/>
            <a:ext cx="3500308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77D572D5-3E16-154C-8EC5-6A770C5B7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8" name="Picture 4">
            <a:extLst>
              <a:ext uri="{FF2B5EF4-FFF2-40B4-BE49-F238E27FC236}">
                <a16:creationId xmlns:a16="http://schemas.microsoft.com/office/drawing/2014/main" xmlns="" id="{CF0FB49A-EED6-9A41-9A83-C05F83CDE3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5">
            <a:extLst>
              <a:ext uri="{FF2B5EF4-FFF2-40B4-BE49-F238E27FC236}">
                <a16:creationId xmlns:a16="http://schemas.microsoft.com/office/drawing/2014/main" xmlns="" id="{559FBA1A-9BA5-DA4D-ABE5-7D7CD4816171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12241149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097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рывающ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1629" y="1642334"/>
            <a:ext cx="3810463" cy="15777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КРЫВАЮЩИЙ СЛАЙД ПРЕЗЕНТАЦИИ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1627" y="3358083"/>
            <a:ext cx="3810463" cy="1872000"/>
          </a:xfrm>
        </p:spPr>
        <p:txBody>
          <a:bodyPr anchor="t" anchorCtr="0"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ct val="110000"/>
              <a:buFontTx/>
              <a:buNone/>
              <a:tabLst/>
              <a:defRPr sz="14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ct val="110000"/>
              <a:buFontTx/>
              <a:buNone/>
              <a:tabLst/>
              <a:defRPr/>
            </a:pPr>
            <a:r>
              <a:rPr lang="ru-RU" dirty="0"/>
              <a:t>Текст закрывающего слайда, реквизиты, контактная информация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6E749C80-3A0D-1940-96E7-176D23C6081B}"/>
              </a:ext>
            </a:extLst>
          </p:cNvPr>
          <p:cNvSpPr/>
          <p:nvPr userDrawn="1"/>
        </p:nvSpPr>
        <p:spPr bwMode="auto">
          <a:xfrm>
            <a:off x="533819" y="1642333"/>
            <a:ext cx="62523" cy="3587751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xmlns="" id="{35D8D67B-C079-B144-824F-C372665AF00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93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xmlns="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xmlns="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12241149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9034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0364" y="2097413"/>
            <a:ext cx="8417684" cy="1583067"/>
          </a:xfrm>
          <a:prstGeom prst="rect">
            <a:avLst/>
          </a:prstGeom>
        </p:spPr>
        <p:txBody>
          <a:bodyPr lIns="108000" tIns="0" rIns="0" bIns="0" anchor="ctr">
            <a:normAutofit/>
          </a:bodyPr>
          <a:lstStyle>
            <a:lvl1pPr>
              <a:defRPr sz="2400" b="1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4D66149E-990B-2F4D-92F3-8343506E26B1}"/>
              </a:ext>
            </a:extLst>
          </p:cNvPr>
          <p:cNvSpPr/>
          <p:nvPr userDrawn="1"/>
        </p:nvSpPr>
        <p:spPr bwMode="auto">
          <a:xfrm>
            <a:off x="381748" y="2099654"/>
            <a:ext cx="88615" cy="1584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10054481" y="2097413"/>
            <a:ext cx="1762812" cy="1584001"/>
            <a:chOff x="8163549" y="4481025"/>
            <a:chExt cx="1432285" cy="1584000"/>
          </a:xfrm>
        </p:grpSpPr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163549" y="4481025"/>
              <a:ext cx="177146" cy="158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406841" y="4481025"/>
              <a:ext cx="18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451830" y="4481025"/>
              <a:ext cx="90000" cy="158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687809" y="4481025"/>
              <a:ext cx="54000" cy="1584000"/>
            </a:xfrm>
            <a:prstGeom prst="rect">
              <a:avLst/>
            </a:prstGeom>
            <a:solidFill>
              <a:srgbClr val="65BA6D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816927" y="4481025"/>
              <a:ext cx="18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867254" y="4481025"/>
              <a:ext cx="126000" cy="158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9115075" y="4481025"/>
              <a:ext cx="54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9024783" y="4481025"/>
              <a:ext cx="36000" cy="158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9222075" y="4481025"/>
              <a:ext cx="306000" cy="158400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9559834" y="4481025"/>
              <a:ext cx="36000" cy="1584000"/>
            </a:xfrm>
            <a:prstGeom prst="rect">
              <a:avLst/>
            </a:prstGeom>
            <a:solidFill>
              <a:srgbClr val="6AA74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1" name="Picture 2">
            <a:extLst>
              <a:ext uri="{FF2B5EF4-FFF2-40B4-BE49-F238E27FC236}">
                <a16:creationId xmlns:a16="http://schemas.microsoft.com/office/drawing/2014/main" xmlns="" id="{C3255B48-C5EF-044C-B42C-365145C621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564" y="5858969"/>
            <a:ext cx="2648668" cy="557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11113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94">
          <p15:clr>
            <a:srgbClr val="F26B43"/>
          </p15:clr>
        </p15:guide>
        <p15:guide id="2" pos="6046">
          <p15:clr>
            <a:srgbClr val="F26B43"/>
          </p15:clr>
        </p15:guide>
        <p15:guide id="3" orient="horz" pos="618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orient="horz" pos="142">
          <p15:clr>
            <a:srgbClr val="A4A3A4"/>
          </p15:clr>
        </p15:guide>
        <p15:guide id="6" orient="horz" pos="527">
          <p15:clr>
            <a:srgbClr val="A4A3A4"/>
          </p15:clr>
        </p15:guide>
        <p15:guide id="7" pos="3120">
          <p15:clr>
            <a:srgbClr val="547EBF"/>
          </p15:clr>
        </p15:guide>
        <p15:guide id="8" orient="horz" pos="2319">
          <p15:clr>
            <a:srgbClr val="547EBF"/>
          </p15:clr>
        </p15:guide>
        <p15:guide id="9" pos="1555">
          <p15:clr>
            <a:srgbClr val="A4A3A4"/>
          </p15:clr>
        </p15:guide>
        <p15:guide id="10" pos="1691">
          <p15:clr>
            <a:srgbClr val="A4A3A4"/>
          </p15:clr>
        </p15:guide>
        <p15:guide id="11" pos="3052">
          <p15:clr>
            <a:srgbClr val="A4A3A4"/>
          </p15:clr>
        </p15:guide>
        <p15:guide id="12" pos="3188">
          <p15:clr>
            <a:srgbClr val="A4A3A4"/>
          </p15:clr>
        </p15:guide>
        <p15:guide id="13" pos="4685">
          <p15:clr>
            <a:srgbClr val="A4A3A4"/>
          </p15:clr>
        </p15:guide>
        <p15:guide id="14" pos="4549">
          <p15:clr>
            <a:srgbClr val="A4A3A4"/>
          </p15:clr>
        </p15:guide>
        <p15:guide id="15" orient="horz" pos="2251">
          <p15:clr>
            <a:srgbClr val="A4A3A4"/>
          </p15:clr>
        </p15:guide>
        <p15:guide id="16" orient="horz" pos="2387">
          <p15:clr>
            <a:srgbClr val="A4A3A4"/>
          </p15:clr>
        </p15:guide>
        <p15:guide id="17" orient="horz" pos="4088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7" name="Рукописный ввод 6">
                <a:extLst>
                  <a:ext uri="{FF2B5EF4-FFF2-40B4-BE49-F238E27FC236}">
                    <a16:creationId xmlns:a16="http://schemas.microsoft.com/office/drawing/2014/main" xmlns="" id="{07ADFF20-7FDD-413B-9B14-1CE48CB626B3}"/>
                  </a:ext>
                </a:extLst>
              </p14:cNvPr>
              <p14:cNvContentPartPr/>
              <p14:nvPr userDrawn="1"/>
            </p14:nvContentPartPr>
            <p14:xfrm>
              <a:off x="6783316" y="1305463"/>
              <a:ext cx="3600" cy="720"/>
            </p14:xfrm>
          </p:contentPart>
        </mc:Choice>
        <mc:Fallback xmlns="">
          <p:pic>
            <p:nvPicPr>
              <p:cNvPr id="7" name="Рукописный ввод 6">
                <a:extLst>
                  <a:ext uri="{FF2B5EF4-FFF2-40B4-BE49-F238E27FC236}">
                    <a16:creationId xmlns:a16="http://schemas.microsoft.com/office/drawing/2014/main" id="{07ADFF20-7FDD-413B-9B14-1CE48CB626B3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778276" y="1300423"/>
                <a:ext cx="13320" cy="10440"/>
              </a:xfrm>
              <a:prstGeom prst="rect">
                <a:avLst/>
              </a:prstGeom>
            </p:spPr>
          </p:pic>
        </mc:Fallback>
      </mc:AlternateContent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0456246" y="6565172"/>
            <a:ext cx="1510553" cy="248957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408269D-E49E-4ED7-8CF9-AC5F7F1B1A8A}" type="slidenum">
              <a:rPr lang="ru-RU" sz="113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113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7004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19">
          <p15:clr>
            <a:srgbClr val="FBAE40"/>
          </p15:clr>
        </p15:guide>
        <p15:guide id="2" orient="horz" pos="3929">
          <p15:clr>
            <a:srgbClr val="FBAE40"/>
          </p15:clr>
        </p15:guide>
        <p15:guide id="3" pos="2298">
          <p15:clr>
            <a:srgbClr val="FBAE40"/>
          </p15:clr>
        </p15:guide>
        <p15:guide id="4" pos="2094">
          <p15:clr>
            <a:srgbClr val="FBAE40"/>
          </p15:clr>
        </p15:guide>
        <p15:guide id="6" pos="5586">
          <p15:clr>
            <a:srgbClr val="FBAE40"/>
          </p15:clr>
        </p15:guide>
        <p15:guide id="7" pos="5790">
          <p15:clr>
            <a:srgbClr val="FBAE40"/>
          </p15:clr>
        </p15:guide>
        <p15:guide id="8" pos="551">
          <p15:clr>
            <a:srgbClr val="FBAE40"/>
          </p15:clr>
        </p15:guide>
        <p15:guide id="9" pos="4044">
          <p15:clr>
            <a:srgbClr val="FBAE40"/>
          </p15:clr>
        </p15:guide>
        <p15:guide id="10" pos="7333">
          <p15:clr>
            <a:srgbClr val="FBAE40"/>
          </p15:clr>
        </p15:guide>
        <p15:guide id="11" pos="3840">
          <p15:clr>
            <a:srgbClr val="FBAE40"/>
          </p15:clr>
        </p15:guide>
        <p15:guide id="12" orient="horz" pos="504">
          <p15:clr>
            <a:srgbClr val="FBAE40"/>
          </p15:clr>
        </p15:guide>
        <p15:guide id="13" orient="horz" pos="572">
          <p15:clr>
            <a:srgbClr val="FBAE40"/>
          </p15:clr>
        </p15:guide>
        <p15:guide id="14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пов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4963" y="6501099"/>
            <a:ext cx="860583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20188" y="6501099"/>
            <a:ext cx="272700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34963" y="260350"/>
            <a:ext cx="11522074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02319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1" userDrawn="1">
          <p15:clr>
            <a:srgbClr val="F26B43"/>
          </p15:clr>
        </p15:guide>
        <p15:guide id="2" pos="7469" userDrawn="1">
          <p15:clr>
            <a:srgbClr val="F26B43"/>
          </p15:clr>
        </p15:guide>
        <p15:guide id="3" orient="horz" pos="663" userDrawn="1">
          <p15:clr>
            <a:srgbClr val="F26B43"/>
          </p15:clr>
        </p15:guide>
        <p15:guide id="4" pos="3840" userDrawn="1">
          <p15:clr>
            <a:srgbClr val="547EBF"/>
          </p15:clr>
        </p15:guide>
        <p15:guide id="5" pos="5632" userDrawn="1">
          <p15:clr>
            <a:srgbClr val="A4A3A4"/>
          </p15:clr>
        </p15:guide>
        <p15:guide id="6" orient="horz" pos="572" userDrawn="1">
          <p15:clr>
            <a:srgbClr val="A4A3A4"/>
          </p15:clr>
        </p15:guide>
        <p15:guide id="7" orient="horz" pos="4088" userDrawn="1">
          <p15:clr>
            <a:srgbClr val="A4A3A4"/>
          </p15:clr>
        </p15:guide>
        <p15:guide id="8" orient="horz" pos="3997" userDrawn="1">
          <p15:clr>
            <a:srgbClr val="F26B43"/>
          </p15:clr>
        </p15:guide>
        <p15:guide id="9" orient="horz" pos="2319" userDrawn="1">
          <p15:clr>
            <a:srgbClr val="547EBF"/>
          </p15:clr>
        </p15:guide>
        <p15:guide id="10" pos="1935" userDrawn="1">
          <p15:clr>
            <a:srgbClr val="A4A3A4"/>
          </p15:clr>
        </p15:guide>
        <p15:guide id="11" pos="2048" userDrawn="1">
          <p15:clr>
            <a:srgbClr val="A4A3A4"/>
          </p15:clr>
        </p15:guide>
        <p15:guide id="12" pos="5745" userDrawn="1">
          <p15:clr>
            <a:srgbClr val="A4A3A4"/>
          </p15:clr>
        </p15:guide>
        <p15:guide id="13" orient="horz" pos="164" userDrawn="1">
          <p15:clr>
            <a:srgbClr val="A4A3A4"/>
          </p15:clr>
        </p15:guide>
        <p15:guide id="14" pos="3772" userDrawn="1">
          <p15:clr>
            <a:srgbClr val="A4A3A4"/>
          </p15:clr>
        </p15:guide>
        <p15:guide id="15" pos="3908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82591" y="6356353"/>
            <a:ext cx="4114800" cy="365125"/>
          </a:xfrm>
        </p:spPr>
        <p:txBody>
          <a:bodyPr/>
          <a:lstStyle>
            <a:lvl1pPr algn="l">
              <a:defRPr sz="1000">
                <a:latin typeface="Arial Narrow" panose="020B0606020202030204" pitchFamily="34" charset="0"/>
              </a:defRPr>
            </a:lvl1pPr>
          </a:lstStyle>
          <a:p>
            <a:r>
              <a:rPr lang="ru-RU"/>
              <a:t>К встрече Председателя Правления РСХБ Листова Бориса Павловича с губернатором Республики Чувашия 24 октября 2020 год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058274" y="6356353"/>
            <a:ext cx="2743200" cy="365125"/>
          </a:xfrm>
        </p:spPr>
        <p:txBody>
          <a:bodyPr/>
          <a:lstStyle>
            <a:lvl1pPr>
              <a:defRPr sz="1000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2591" y="263102"/>
            <a:ext cx="11418886" cy="425450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37052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44107" y="6501099"/>
            <a:ext cx="8596693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20188" y="6501099"/>
            <a:ext cx="272700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34963" y="3370263"/>
            <a:ext cx="11522074" cy="6477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498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нверс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44107" y="6501099"/>
            <a:ext cx="8596693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20188" y="6501099"/>
            <a:ext cx="272700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34963" y="260350"/>
            <a:ext cx="11522074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8320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ипов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82591" y="6498247"/>
            <a:ext cx="8198703" cy="29527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>
                <a:latin typeface="Arial Narrow" panose="020B0606020202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073905" y="6498247"/>
            <a:ext cx="2743200" cy="295277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000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424" y="237702"/>
            <a:ext cx="11431385" cy="612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47731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94">
          <p15:clr>
            <a:srgbClr val="F26B43"/>
          </p15:clr>
        </p15:guide>
        <p15:guide id="2" pos="6046">
          <p15:clr>
            <a:srgbClr val="F26B43"/>
          </p15:clr>
        </p15:guide>
        <p15:guide id="3" orient="horz" pos="618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orient="horz" pos="142">
          <p15:clr>
            <a:srgbClr val="A4A3A4"/>
          </p15:clr>
        </p15:guide>
        <p15:guide id="6" orient="horz" pos="527">
          <p15:clr>
            <a:srgbClr val="A4A3A4"/>
          </p15:clr>
        </p15:guide>
        <p15:guide id="7" pos="3120">
          <p15:clr>
            <a:srgbClr val="547EBF"/>
          </p15:clr>
        </p15:guide>
        <p15:guide id="8" orient="horz" pos="2319">
          <p15:clr>
            <a:srgbClr val="547EBF"/>
          </p15:clr>
        </p15:guide>
        <p15:guide id="9" pos="1555">
          <p15:clr>
            <a:srgbClr val="A4A3A4"/>
          </p15:clr>
        </p15:guide>
        <p15:guide id="10" pos="1691">
          <p15:clr>
            <a:srgbClr val="A4A3A4"/>
          </p15:clr>
        </p15:guide>
        <p15:guide id="11" pos="3052">
          <p15:clr>
            <a:srgbClr val="A4A3A4"/>
          </p15:clr>
        </p15:guide>
        <p15:guide id="12" pos="3188">
          <p15:clr>
            <a:srgbClr val="A4A3A4"/>
          </p15:clr>
        </p15:guide>
        <p15:guide id="13" pos="4685">
          <p15:clr>
            <a:srgbClr val="A4A3A4"/>
          </p15:clr>
        </p15:guide>
        <p15:guide id="14" pos="4549">
          <p15:clr>
            <a:srgbClr val="A4A3A4"/>
          </p15:clr>
        </p15:guide>
        <p15:guide id="15" orient="horz" pos="2251">
          <p15:clr>
            <a:srgbClr val="A4A3A4"/>
          </p15:clr>
        </p15:guide>
        <p15:guide id="16" orient="horz" pos="2387">
          <p15:clr>
            <a:srgbClr val="A4A3A4"/>
          </p15:clr>
        </p15:guide>
        <p15:guide id="17" orient="horz" pos="4088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9960" y="2512247"/>
            <a:ext cx="9552000" cy="1355829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2133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xmlns="" id="{C3255B48-C5EF-044C-B42C-365145C621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54" y="5885716"/>
            <a:ext cx="292234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560153" y="5434895"/>
            <a:ext cx="2783416" cy="391583"/>
          </a:xfrm>
        </p:spPr>
        <p:txBody>
          <a:bodyPr>
            <a:normAutofit/>
          </a:bodyPr>
          <a:lstStyle>
            <a:lvl1pPr marL="0" indent="0">
              <a:buNone/>
              <a:defRPr sz="1333" baseline="0"/>
            </a:lvl1pPr>
          </a:lstStyle>
          <a:p>
            <a:pPr lvl="0"/>
            <a:r>
              <a:rPr lang="ru-RU" dirty="0"/>
              <a:t>Февраль 2021 год</a:t>
            </a:r>
          </a:p>
        </p:txBody>
      </p:sp>
    </p:spTree>
    <p:extLst>
      <p:ext uri="{BB962C8B-B14F-4D97-AF65-F5344CB8AC3E}">
        <p14:creationId xmlns:p14="http://schemas.microsoft.com/office/powerpoint/2010/main" val="2991548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560153" y="5434895"/>
            <a:ext cx="2783416" cy="391583"/>
          </a:xfrm>
        </p:spPr>
        <p:txBody>
          <a:bodyPr>
            <a:normAutofit/>
          </a:bodyPr>
          <a:lstStyle>
            <a:lvl1pPr marL="0" indent="0">
              <a:buNone/>
              <a:defRPr sz="1333" baseline="0"/>
            </a:lvl1pPr>
          </a:lstStyle>
          <a:p>
            <a:pPr lvl="0"/>
            <a:r>
              <a:rPr lang="ru-RU" dirty="0"/>
              <a:t>Февраль 2021 год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9960" y="2484413"/>
            <a:ext cx="9552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2133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D674CA2C-3094-0C4C-BAA0-3522F3FEA32A}"/>
              </a:ext>
            </a:extLst>
          </p:cNvPr>
          <p:cNvSpPr/>
          <p:nvPr userDrawn="1"/>
        </p:nvSpPr>
        <p:spPr bwMode="auto">
          <a:xfrm>
            <a:off x="562678" y="2495143"/>
            <a:ext cx="80885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399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4919" y="2484414"/>
            <a:ext cx="1324132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xmlns="" id="{C3255B48-C5EF-044C-B42C-365145C621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54" y="5885716"/>
            <a:ext cx="292234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2941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СОДЕРЖАНИЯ</a:t>
            </a:r>
            <a:endParaRPr lang="en-US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ACC17A53-BB3F-F044-85B4-0B04A0DAB1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21AA4CCA-D2D7-C144-90D5-DDE5B1A857A7}"/>
              </a:ext>
            </a:extLst>
          </p:cNvPr>
          <p:cNvSpPr/>
          <p:nvPr userDrawn="1"/>
        </p:nvSpPr>
        <p:spPr bwMode="auto">
          <a:xfrm>
            <a:off x="533819" y="1712670"/>
            <a:ext cx="62523" cy="3587751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6E873158-6BC8-DF48-AA1D-D839F335337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27769" y="1737055"/>
            <a:ext cx="9184985" cy="36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xmlns="" id="{7EC98726-7861-1141-87C8-C7563E9097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93617" y="1737297"/>
            <a:ext cx="1329231" cy="36000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11E86C81-962A-4B42-83A0-8C9FB8E8E96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27769" y="2188159"/>
            <a:ext cx="9184985" cy="36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xmlns="" id="{7F8A5168-FF42-1A49-9B92-DFECFEA75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293617" y="2188401"/>
            <a:ext cx="1329231" cy="36000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29CC1C63-9920-7E46-BF0E-225D47DFAD0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727769" y="2639263"/>
            <a:ext cx="9184985" cy="36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5" name="Текст 12">
            <a:extLst>
              <a:ext uri="{FF2B5EF4-FFF2-40B4-BE49-F238E27FC236}">
                <a16:creationId xmlns:a16="http://schemas.microsoft.com/office/drawing/2014/main" xmlns="" id="{35D809A9-9076-F848-AED4-7E8C2B30EC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293617" y="2639505"/>
            <a:ext cx="1329231" cy="36000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xmlns="" id="{6F62101C-0936-3C49-950D-95BD4FD6397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27769" y="3090367"/>
            <a:ext cx="9184985" cy="36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7" name="Текст 12">
            <a:extLst>
              <a:ext uri="{FF2B5EF4-FFF2-40B4-BE49-F238E27FC236}">
                <a16:creationId xmlns:a16="http://schemas.microsoft.com/office/drawing/2014/main" xmlns="" id="{3711E826-681F-0248-BC39-B6E52B37F0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93617" y="3090609"/>
            <a:ext cx="1329231" cy="36000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xmlns="" id="{3D0FED89-1D7E-1B44-8FE5-9A88BF02E834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27769" y="3541471"/>
            <a:ext cx="9184985" cy="36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9" name="Текст 12">
            <a:extLst>
              <a:ext uri="{FF2B5EF4-FFF2-40B4-BE49-F238E27FC236}">
                <a16:creationId xmlns:a16="http://schemas.microsoft.com/office/drawing/2014/main" xmlns="" id="{EA06C912-321A-4740-BF63-17220AE6A68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293617" y="3541713"/>
            <a:ext cx="1329231" cy="36000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xmlns="" id="{AC2DDB87-FC18-E345-8440-62C03DAB5E77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727769" y="3992575"/>
            <a:ext cx="9184985" cy="36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xmlns="" id="{CA8C38B0-6F30-B24D-A624-AC4A0CE6D6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293617" y="3992817"/>
            <a:ext cx="1329231" cy="36000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xmlns="" id="{CA9D8326-1941-994C-83A0-87DBF0BF788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27769" y="4443677"/>
            <a:ext cx="9184985" cy="36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3" name="Текст 12">
            <a:extLst>
              <a:ext uri="{FF2B5EF4-FFF2-40B4-BE49-F238E27FC236}">
                <a16:creationId xmlns:a16="http://schemas.microsoft.com/office/drawing/2014/main" xmlns="" id="{303E90E1-1DB0-FA47-8A8A-36889E1E7C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93617" y="4443921"/>
            <a:ext cx="1329231" cy="36000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xmlns="" id="{5B04E9D5-8F58-254F-8737-550E7EC105D1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727769" y="4894783"/>
            <a:ext cx="9184985" cy="36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5" name="Текст 12">
            <a:extLst>
              <a:ext uri="{FF2B5EF4-FFF2-40B4-BE49-F238E27FC236}">
                <a16:creationId xmlns:a16="http://schemas.microsoft.com/office/drawing/2014/main" xmlns="" id="{816697AE-D1C4-4345-8DAC-36D1860E00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293617" y="4895025"/>
            <a:ext cx="1329231" cy="36000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pic>
        <p:nvPicPr>
          <p:cNvPr id="28" name="Picture 4">
            <a:extLst>
              <a:ext uri="{FF2B5EF4-FFF2-40B4-BE49-F238E27FC236}">
                <a16:creationId xmlns:a16="http://schemas.microsoft.com/office/drawing/2014/main" xmlns="" id="{A11BADCA-C8E8-7548-AB82-0330DB3A91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12241149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8433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36361" y="3498471"/>
            <a:ext cx="9211569" cy="360000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467" b="1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dirty="0"/>
              <a:t>ВРЕЗКА ИЛИ ПОДЗАГОЛОВОК ВТОРОГО УРОВНЯ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9780073A-20CC-FB41-9AF5-73723C3726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33E397EC-729F-714E-9BBC-6CA1A5DF9CD2}"/>
              </a:ext>
            </a:extLst>
          </p:cNvPr>
          <p:cNvSpPr/>
          <p:nvPr userDrawn="1"/>
        </p:nvSpPr>
        <p:spPr>
          <a:xfrm>
            <a:off x="541709" y="2649049"/>
            <a:ext cx="62523" cy="122396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915" tIns="43959" rIns="87915" bIns="43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FFD105"/>
              </a:solidFill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xmlns="" id="{9ED49B8E-535C-3041-B222-C6F7FDEA6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6360" y="2636996"/>
            <a:ext cx="9211568" cy="8047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РАЗДЕЛА ПРЕЗЕНТАЦИИ ИЛИ ПОДЗАГОЛОВОК ПЕРВОГО УРОВНЯ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xmlns="" id="{EAE4FBF3-A53C-674B-BFB2-FB509394F1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20478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heme" Target="../theme/theme2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7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Layout" Target="../slideLayouts/slideLayout20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91884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0" name="Слайд think-cell" r:id="rId9" imgW="383" imgH="384" progId="TCLayout.ActiveDocument.1">
                  <p:embed/>
                </p:oleObj>
              </mc:Choice>
              <mc:Fallback>
                <p:oleObj name="Слайд think-cell" r:id="rId9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71927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53" r:id="rId2"/>
    <p:sldLayoutId id="2147483668" r:id="rId3"/>
    <p:sldLayoutId id="2147483670" r:id="rId4"/>
    <p:sldLayoutId id="2147483689" r:id="rId5"/>
  </p:sldLayoutIdLst>
  <p:hf hdr="0" dt="0"/>
  <p:txStyles>
    <p:titleStyle>
      <a:lvl1pPr algn="l" defTabSz="914558" rtl="0" eaLnBrk="1" latinLnBrk="0" hangingPunct="1">
        <a:lnSpc>
          <a:spcPct val="90000"/>
        </a:lnSpc>
        <a:spcBef>
          <a:spcPct val="0"/>
        </a:spcBef>
        <a:buNone/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40" indent="-228640" algn="l" defTabSz="91455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918" indent="-228640" algn="l" defTabSz="9145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197" indent="-228640" algn="l" defTabSz="9145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477" indent="-228640" algn="l" defTabSz="9145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755" indent="-228640" algn="l" defTabSz="9145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5035" indent="-228640" algn="l" defTabSz="9145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314" indent="-228640" algn="l" defTabSz="9145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93" indent="-228640" algn="l" defTabSz="9145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872" indent="-228640" algn="l" defTabSz="9145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79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58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37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17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95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74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953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233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7" name="Слайд think-cell" r:id="rId16" imgW="381" imgH="381" progId="TCLayout.ActiveDocument.1">
                  <p:embed/>
                </p:oleObj>
              </mc:Choice>
              <mc:Fallback>
                <p:oleObj name="Слайд think-cell" r:id="rId16" imgW="381" imgH="38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8374" y="211769"/>
            <a:ext cx="11213125" cy="504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031" y="1172632"/>
            <a:ext cx="11213125" cy="470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80556" y="647488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FC702E3D-E1C0-8345-AA2A-F82325D0AAB8}" type="datetime4">
              <a:rPr lang="ru-RU" smtClean="0"/>
              <a:t>8 декабря 2022 г.</a:t>
            </a:fld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11289" y="6434440"/>
            <a:ext cx="9327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33" b="1">
                <a:solidFill>
                  <a:srgbClr val="448A18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7145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1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0394" indent="-230394" algn="l" defTabSz="914377" rtl="0" eaLnBrk="1" latinLnBrk="0" hangingPunct="1">
        <a:lnSpc>
          <a:spcPct val="100000"/>
        </a:lnSpc>
        <a:spcBef>
          <a:spcPts val="400"/>
        </a:spcBef>
        <a:buClr>
          <a:schemeClr val="accent4"/>
        </a:buClr>
        <a:buSzPct val="110000"/>
        <a:buFontTx/>
        <a:buBlip>
          <a:blip r:embed="rId18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60788" indent="-230394" algn="l" defTabSz="914377" rtl="0" eaLnBrk="1" latinLnBrk="0" hangingPunct="1">
        <a:lnSpc>
          <a:spcPct val="100000"/>
        </a:lnSpc>
        <a:spcBef>
          <a:spcPts val="267"/>
        </a:spcBef>
        <a:buClr>
          <a:srgbClr val="448A18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91183" indent="-230394" algn="l" defTabSz="914377" rtl="0" eaLnBrk="1" latinLnBrk="0" hangingPunct="1">
        <a:lnSpc>
          <a:spcPct val="100000"/>
        </a:lnSpc>
        <a:spcBef>
          <a:spcPts val="400"/>
        </a:spcBef>
        <a:buClr>
          <a:srgbClr val="448A18"/>
        </a:buClr>
        <a:buSzPct val="12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21577" indent="-230394" algn="l" defTabSz="914377" rtl="0" eaLnBrk="1" latinLnBrk="0" hangingPunct="1">
        <a:lnSpc>
          <a:spcPct val="100000"/>
        </a:lnSpc>
        <a:spcBef>
          <a:spcPts val="400"/>
        </a:spcBef>
        <a:buClr>
          <a:srgbClr val="448A18"/>
        </a:buClr>
        <a:buSzPct val="120000"/>
        <a:buFont typeface="Системный шрифт, обычный"/>
        <a:buChar char="⁃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971" indent="-230394" algn="l" defTabSz="914377" rtl="0" eaLnBrk="1" latinLnBrk="0" hangingPunct="1">
        <a:lnSpc>
          <a:spcPct val="100000"/>
        </a:lnSpc>
        <a:spcBef>
          <a:spcPts val="400"/>
        </a:spcBef>
        <a:buClr>
          <a:srgbClr val="448A18"/>
        </a:buClr>
        <a:buSzPct val="60000"/>
        <a:buFont typeface=".Lucida Grande UI Regular"/>
        <a:buChar char="◆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1" name="Слайд think-cell" r:id="rId7" imgW="319" imgH="320" progId="TCLayout.ActiveDocument.1">
                  <p:embed/>
                </p:oleObj>
              </mc:Choice>
              <mc:Fallback>
                <p:oleObj name="Слайд think-cell" r:id="rId7" imgW="319" imgH="32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4665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7" r:id="rId2"/>
    <p:sldLayoutId id="2147483688" r:id="rId3"/>
  </p:sldLayoutIdLst>
  <p:hf hdr="0" dt="0"/>
  <p:txStyles>
    <p:titleStyle>
      <a:lvl1pPr algn="l" defTabSz="914535" rtl="0" eaLnBrk="1" latinLnBrk="0" hangingPunct="1">
        <a:lnSpc>
          <a:spcPct val="90000"/>
        </a:lnSpc>
        <a:spcBef>
          <a:spcPct val="0"/>
        </a:spcBef>
        <a:buNone/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34" indent="-228634" algn="l" defTabSz="91453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901" indent="-228634" algn="l" defTabSz="9145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169" indent="-228634" algn="l" defTabSz="9145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437" indent="-228634" algn="l" defTabSz="9145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704" indent="-228634" algn="l" defTabSz="9145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972" indent="-228634" algn="l" defTabSz="9145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239" indent="-228634" algn="l" defTabSz="9145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07" indent="-228634" algn="l" defTabSz="9145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775" indent="-228634" algn="l" defTabSz="9145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8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5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3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1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38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06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73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1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openxmlformats.org/officeDocument/2006/relationships/image" Target="../media/image4.emf"/><Relationship Id="rId4" Type="http://schemas.openxmlformats.org/officeDocument/2006/relationships/image" Target="../media/image16.png"/><Relationship Id="rId9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customXml" Target="../ink/ink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emf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customXml" Target="../ink/ink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emf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" y="1052514"/>
            <a:ext cx="12191999" cy="4114572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66502" y="2679113"/>
            <a:ext cx="7115694" cy="1144173"/>
          </a:xfrm>
          <a:prstGeom prst="rect">
            <a:avLst/>
          </a:prstGeom>
        </p:spPr>
        <p:txBody>
          <a:bodyPr lIns="108000" rIns="180000" anchor="ctr">
            <a:noAutofit/>
          </a:bodyPr>
          <a:lstStyle>
            <a:lvl1pPr algn="l" defTabSz="914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2B603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85725"/>
            <a:r>
              <a:rPr lang="ru-RU" sz="4000" dirty="0" smtClean="0">
                <a:solidFill>
                  <a:srgbClr val="195137"/>
                </a:solidFill>
              </a:rPr>
              <a:t>«Школа </a:t>
            </a:r>
            <a:r>
              <a:rPr lang="ru-RU" sz="4000" dirty="0">
                <a:solidFill>
                  <a:srgbClr val="195137"/>
                </a:solidFill>
              </a:rPr>
              <a:t>фермера: возможность успешного развития сельских </a:t>
            </a:r>
            <a:r>
              <a:rPr lang="ru-RU" sz="4000" dirty="0" smtClean="0">
                <a:solidFill>
                  <a:srgbClr val="195137"/>
                </a:solidFill>
              </a:rPr>
              <a:t>предпринимателей»</a:t>
            </a:r>
          </a:p>
          <a:p>
            <a:pPr marL="85725"/>
            <a:endParaRPr lang="ru-RU" dirty="0" smtClean="0"/>
          </a:p>
          <a:p>
            <a:pPr marL="85725"/>
            <a:r>
              <a:rPr lang="ru-RU" dirty="0" smtClean="0">
                <a:solidFill>
                  <a:schemeClr val="accent2">
                    <a:lumMod val="50000"/>
                  </a:schemeClr>
                </a:solidFill>
              </a:rPr>
              <a:t>АО РОССЕЛЬХОЗБАНК</a:t>
            </a:r>
          </a:p>
          <a:p>
            <a:pPr marL="85725"/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</a:rPr>
              <a:t>Заместитель директора Свердловского регионального филиала </a:t>
            </a:r>
          </a:p>
          <a:p>
            <a:pPr marL="85725"/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</a:rPr>
              <a:t>Смирнова Марина Валерьевна</a:t>
            </a:r>
            <a:endParaRPr lang="ru-RU" sz="16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" name="Полилиния 2"/>
          <p:cNvSpPr/>
          <p:nvPr/>
        </p:nvSpPr>
        <p:spPr>
          <a:xfrm>
            <a:off x="5707899" y="1614503"/>
            <a:ext cx="2609850" cy="2581275"/>
          </a:xfrm>
          <a:custGeom>
            <a:avLst/>
            <a:gdLst>
              <a:gd name="connsiteX0" fmla="*/ 1943100 w 2609850"/>
              <a:gd name="connsiteY0" fmla="*/ 0 h 2581275"/>
              <a:gd name="connsiteX1" fmla="*/ 2609850 w 2609850"/>
              <a:gd name="connsiteY1" fmla="*/ 381000 h 2581275"/>
              <a:gd name="connsiteX2" fmla="*/ 742950 w 2609850"/>
              <a:gd name="connsiteY2" fmla="*/ 2581275 h 2581275"/>
              <a:gd name="connsiteX3" fmla="*/ 0 w 2609850"/>
              <a:gd name="connsiteY3" fmla="*/ 2047875 h 2581275"/>
              <a:gd name="connsiteX4" fmla="*/ 1943100 w 2609850"/>
              <a:gd name="connsiteY4" fmla="*/ 0 h 2581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9850" h="2581275">
                <a:moveTo>
                  <a:pt x="1943100" y="0"/>
                </a:moveTo>
                <a:lnTo>
                  <a:pt x="2609850" y="381000"/>
                </a:lnTo>
                <a:lnTo>
                  <a:pt x="742950" y="2581275"/>
                </a:lnTo>
                <a:lnTo>
                  <a:pt x="0" y="2047875"/>
                </a:lnTo>
                <a:lnTo>
                  <a:pt x="1943100" y="0"/>
                </a:lnTo>
                <a:close/>
              </a:path>
            </a:pathLst>
          </a:custGeom>
          <a:gradFill>
            <a:gsLst>
              <a:gs pos="100000">
                <a:srgbClr val="9BCC58"/>
              </a:gs>
              <a:gs pos="33000">
                <a:srgbClr val="71BF45"/>
              </a:gs>
              <a:gs pos="72000">
                <a:srgbClr val="70BF3D"/>
              </a:gs>
              <a:gs pos="0">
                <a:srgbClr val="5DB0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 rot="18702603">
            <a:off x="5518987" y="2856357"/>
            <a:ext cx="2571677" cy="602135"/>
          </a:xfrm>
          <a:custGeom>
            <a:avLst/>
            <a:gdLst>
              <a:gd name="connsiteX0" fmla="*/ 0 w 8489723"/>
              <a:gd name="connsiteY0" fmla="*/ 0 h 769441"/>
              <a:gd name="connsiteX1" fmla="*/ 8489723 w 8489723"/>
              <a:gd name="connsiteY1" fmla="*/ 0 h 769441"/>
              <a:gd name="connsiteX2" fmla="*/ 8489723 w 8489723"/>
              <a:gd name="connsiteY2" fmla="*/ 769441 h 769441"/>
              <a:gd name="connsiteX3" fmla="*/ 0 w 8489723"/>
              <a:gd name="connsiteY3" fmla="*/ 769441 h 769441"/>
              <a:gd name="connsiteX4" fmla="*/ 0 w 8489723"/>
              <a:gd name="connsiteY4" fmla="*/ 0 h 769441"/>
              <a:gd name="connsiteX0" fmla="*/ 0 w 8520431"/>
              <a:gd name="connsiteY0" fmla="*/ 0 h 861157"/>
              <a:gd name="connsiteX1" fmla="*/ 8520431 w 8520431"/>
              <a:gd name="connsiteY1" fmla="*/ 91716 h 861157"/>
              <a:gd name="connsiteX2" fmla="*/ 8520431 w 8520431"/>
              <a:gd name="connsiteY2" fmla="*/ 861157 h 861157"/>
              <a:gd name="connsiteX3" fmla="*/ 30708 w 8520431"/>
              <a:gd name="connsiteY3" fmla="*/ 861157 h 861157"/>
              <a:gd name="connsiteX4" fmla="*/ 0 w 8520431"/>
              <a:gd name="connsiteY4" fmla="*/ 0 h 861157"/>
              <a:gd name="connsiteX0" fmla="*/ 0 w 8520431"/>
              <a:gd name="connsiteY0" fmla="*/ 0 h 921236"/>
              <a:gd name="connsiteX1" fmla="*/ 8520431 w 8520431"/>
              <a:gd name="connsiteY1" fmla="*/ 91716 h 921236"/>
              <a:gd name="connsiteX2" fmla="*/ 8520431 w 8520431"/>
              <a:gd name="connsiteY2" fmla="*/ 861157 h 921236"/>
              <a:gd name="connsiteX3" fmla="*/ 58737 w 8520431"/>
              <a:gd name="connsiteY3" fmla="*/ 921236 h 921236"/>
              <a:gd name="connsiteX4" fmla="*/ 0 w 8520431"/>
              <a:gd name="connsiteY4" fmla="*/ 0 h 921236"/>
              <a:gd name="connsiteX0" fmla="*/ 0 w 8520431"/>
              <a:gd name="connsiteY0" fmla="*/ 0 h 921236"/>
              <a:gd name="connsiteX1" fmla="*/ 8293867 w 8520431"/>
              <a:gd name="connsiteY1" fmla="*/ 21757 h 921236"/>
              <a:gd name="connsiteX2" fmla="*/ 8520431 w 8520431"/>
              <a:gd name="connsiteY2" fmla="*/ 861157 h 921236"/>
              <a:gd name="connsiteX3" fmla="*/ 58737 w 8520431"/>
              <a:gd name="connsiteY3" fmla="*/ 921236 h 921236"/>
              <a:gd name="connsiteX4" fmla="*/ 0 w 8520431"/>
              <a:gd name="connsiteY4" fmla="*/ 0 h 921236"/>
              <a:gd name="connsiteX0" fmla="*/ 0 w 8523135"/>
              <a:gd name="connsiteY0" fmla="*/ 0 h 1042457"/>
              <a:gd name="connsiteX1" fmla="*/ 8296571 w 8523135"/>
              <a:gd name="connsiteY1" fmla="*/ 142978 h 1042457"/>
              <a:gd name="connsiteX2" fmla="*/ 8523135 w 8523135"/>
              <a:gd name="connsiteY2" fmla="*/ 982378 h 1042457"/>
              <a:gd name="connsiteX3" fmla="*/ 61441 w 8523135"/>
              <a:gd name="connsiteY3" fmla="*/ 1042457 h 1042457"/>
              <a:gd name="connsiteX4" fmla="*/ 0 w 8523135"/>
              <a:gd name="connsiteY4" fmla="*/ 0 h 1042457"/>
              <a:gd name="connsiteX0" fmla="*/ 0 w 8523135"/>
              <a:gd name="connsiteY0" fmla="*/ 0 h 1106678"/>
              <a:gd name="connsiteX1" fmla="*/ 8296571 w 8523135"/>
              <a:gd name="connsiteY1" fmla="*/ 142978 h 1106678"/>
              <a:gd name="connsiteX2" fmla="*/ 8523135 w 8523135"/>
              <a:gd name="connsiteY2" fmla="*/ 982378 h 1106678"/>
              <a:gd name="connsiteX3" fmla="*/ 387294 w 8523135"/>
              <a:gd name="connsiteY3" fmla="*/ 1106678 h 1106678"/>
              <a:gd name="connsiteX4" fmla="*/ 0 w 8523135"/>
              <a:gd name="connsiteY4" fmla="*/ 0 h 1106678"/>
              <a:gd name="connsiteX0" fmla="*/ 0 w 8714948"/>
              <a:gd name="connsiteY0" fmla="*/ 0 h 1106678"/>
              <a:gd name="connsiteX1" fmla="*/ 8296571 w 8714948"/>
              <a:gd name="connsiteY1" fmla="*/ 142978 h 1106678"/>
              <a:gd name="connsiteX2" fmla="*/ 8714948 w 8714948"/>
              <a:gd name="connsiteY2" fmla="*/ 1019208 h 1106678"/>
              <a:gd name="connsiteX3" fmla="*/ 387294 w 8714948"/>
              <a:gd name="connsiteY3" fmla="*/ 1106678 h 1106678"/>
              <a:gd name="connsiteX4" fmla="*/ 0 w 8714948"/>
              <a:gd name="connsiteY4" fmla="*/ 0 h 1106678"/>
              <a:gd name="connsiteX0" fmla="*/ 0 w 8714948"/>
              <a:gd name="connsiteY0" fmla="*/ 0 h 1019208"/>
              <a:gd name="connsiteX1" fmla="*/ 8296571 w 8714948"/>
              <a:gd name="connsiteY1" fmla="*/ 142978 h 1019208"/>
              <a:gd name="connsiteX2" fmla="*/ 8714948 w 8714948"/>
              <a:gd name="connsiteY2" fmla="*/ 1019208 h 1019208"/>
              <a:gd name="connsiteX3" fmla="*/ 873829 w 8714948"/>
              <a:gd name="connsiteY3" fmla="*/ 867754 h 1019208"/>
              <a:gd name="connsiteX4" fmla="*/ 0 w 8714948"/>
              <a:gd name="connsiteY4" fmla="*/ 0 h 1019208"/>
              <a:gd name="connsiteX0" fmla="*/ 0 w 8714948"/>
              <a:gd name="connsiteY0" fmla="*/ 0 h 1138882"/>
              <a:gd name="connsiteX1" fmla="*/ 8296571 w 8714948"/>
              <a:gd name="connsiteY1" fmla="*/ 142978 h 1138882"/>
              <a:gd name="connsiteX2" fmla="*/ 8714948 w 8714948"/>
              <a:gd name="connsiteY2" fmla="*/ 1019208 h 1138882"/>
              <a:gd name="connsiteX3" fmla="*/ 382781 w 8714948"/>
              <a:gd name="connsiteY3" fmla="*/ 1138882 h 1138882"/>
              <a:gd name="connsiteX4" fmla="*/ 0 w 8714948"/>
              <a:gd name="connsiteY4" fmla="*/ 0 h 1138882"/>
              <a:gd name="connsiteX0" fmla="*/ 1 w 8347125"/>
              <a:gd name="connsiteY0" fmla="*/ 43392 h 995904"/>
              <a:gd name="connsiteX1" fmla="*/ 7928748 w 8347125"/>
              <a:gd name="connsiteY1" fmla="*/ 0 h 995904"/>
              <a:gd name="connsiteX2" fmla="*/ 8347125 w 8347125"/>
              <a:gd name="connsiteY2" fmla="*/ 876230 h 995904"/>
              <a:gd name="connsiteX3" fmla="*/ 14958 w 8347125"/>
              <a:gd name="connsiteY3" fmla="*/ 995904 h 995904"/>
              <a:gd name="connsiteX4" fmla="*/ 1 w 8347125"/>
              <a:gd name="connsiteY4" fmla="*/ 43392 h 995904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9435" h="1113342">
                <a:moveTo>
                  <a:pt x="0" y="0"/>
                </a:moveTo>
                <a:lnTo>
                  <a:pt x="8241058" y="117438"/>
                </a:lnTo>
                <a:lnTo>
                  <a:pt x="8659435" y="993668"/>
                </a:lnTo>
                <a:lnTo>
                  <a:pt x="327268" y="1113342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anchor="ctr">
            <a:prstTxWarp prst="textFadeRight">
              <a:avLst>
                <a:gd name="adj" fmla="val 0"/>
              </a:avLst>
            </a:prstTxWarp>
            <a:spAutoFit/>
            <a:scene3d>
              <a:camera prst="isometricLeftDown">
                <a:rot lat="1445577" lon="988217" rev="412902"/>
              </a:camera>
              <a:lightRig rig="threePt" dir="t"/>
            </a:scene3d>
          </a:bodyPr>
          <a:lstStyle/>
          <a:p>
            <a:pPr marL="261938" indent="-261938"/>
            <a:r>
              <a:rPr 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ШКОЛА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олилиния 7"/>
          <p:cNvSpPr/>
          <p:nvPr/>
        </p:nvSpPr>
        <p:spPr>
          <a:xfrm>
            <a:off x="6581774" y="1581036"/>
            <a:ext cx="2838450" cy="3248025"/>
          </a:xfrm>
          <a:custGeom>
            <a:avLst/>
            <a:gdLst>
              <a:gd name="connsiteX0" fmla="*/ 1943100 w 2609850"/>
              <a:gd name="connsiteY0" fmla="*/ 0 h 2581275"/>
              <a:gd name="connsiteX1" fmla="*/ 2609850 w 2609850"/>
              <a:gd name="connsiteY1" fmla="*/ 381000 h 2581275"/>
              <a:gd name="connsiteX2" fmla="*/ 742950 w 2609850"/>
              <a:gd name="connsiteY2" fmla="*/ 2581275 h 2581275"/>
              <a:gd name="connsiteX3" fmla="*/ 0 w 2609850"/>
              <a:gd name="connsiteY3" fmla="*/ 2047875 h 2581275"/>
              <a:gd name="connsiteX4" fmla="*/ 1943100 w 2609850"/>
              <a:gd name="connsiteY4" fmla="*/ 0 h 2581275"/>
              <a:gd name="connsiteX0" fmla="*/ 2143125 w 2609850"/>
              <a:gd name="connsiteY0" fmla="*/ 0 h 3143250"/>
              <a:gd name="connsiteX1" fmla="*/ 2609850 w 2609850"/>
              <a:gd name="connsiteY1" fmla="*/ 942975 h 3143250"/>
              <a:gd name="connsiteX2" fmla="*/ 742950 w 2609850"/>
              <a:gd name="connsiteY2" fmla="*/ 3143250 h 3143250"/>
              <a:gd name="connsiteX3" fmla="*/ 0 w 2609850"/>
              <a:gd name="connsiteY3" fmla="*/ 2609850 h 3143250"/>
              <a:gd name="connsiteX4" fmla="*/ 2143125 w 2609850"/>
              <a:gd name="connsiteY4" fmla="*/ 0 h 3143250"/>
              <a:gd name="connsiteX0" fmla="*/ 2143125 w 2762250"/>
              <a:gd name="connsiteY0" fmla="*/ 0 h 3143250"/>
              <a:gd name="connsiteX1" fmla="*/ 2762250 w 2762250"/>
              <a:gd name="connsiteY1" fmla="*/ 381000 h 3143250"/>
              <a:gd name="connsiteX2" fmla="*/ 742950 w 2762250"/>
              <a:gd name="connsiteY2" fmla="*/ 3143250 h 3143250"/>
              <a:gd name="connsiteX3" fmla="*/ 0 w 2762250"/>
              <a:gd name="connsiteY3" fmla="*/ 2609850 h 3143250"/>
              <a:gd name="connsiteX4" fmla="*/ 2143125 w 2762250"/>
              <a:gd name="connsiteY4" fmla="*/ 0 h 3143250"/>
              <a:gd name="connsiteX0" fmla="*/ 2219325 w 2838450"/>
              <a:gd name="connsiteY0" fmla="*/ 0 h 3143250"/>
              <a:gd name="connsiteX1" fmla="*/ 2838450 w 2838450"/>
              <a:gd name="connsiteY1" fmla="*/ 381000 h 3143250"/>
              <a:gd name="connsiteX2" fmla="*/ 819150 w 2838450"/>
              <a:gd name="connsiteY2" fmla="*/ 3143250 h 3143250"/>
              <a:gd name="connsiteX3" fmla="*/ 0 w 2838450"/>
              <a:gd name="connsiteY3" fmla="*/ 2686050 h 3143250"/>
              <a:gd name="connsiteX4" fmla="*/ 2219325 w 2838450"/>
              <a:gd name="connsiteY4" fmla="*/ 0 h 3143250"/>
              <a:gd name="connsiteX0" fmla="*/ 2219325 w 2838450"/>
              <a:gd name="connsiteY0" fmla="*/ 0 h 3248025"/>
              <a:gd name="connsiteX1" fmla="*/ 2838450 w 2838450"/>
              <a:gd name="connsiteY1" fmla="*/ 381000 h 3248025"/>
              <a:gd name="connsiteX2" fmla="*/ 781050 w 2838450"/>
              <a:gd name="connsiteY2" fmla="*/ 3248025 h 3248025"/>
              <a:gd name="connsiteX3" fmla="*/ 0 w 2838450"/>
              <a:gd name="connsiteY3" fmla="*/ 2686050 h 3248025"/>
              <a:gd name="connsiteX4" fmla="*/ 2219325 w 2838450"/>
              <a:gd name="connsiteY4" fmla="*/ 0 h 3248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8450" h="3248025">
                <a:moveTo>
                  <a:pt x="2219325" y="0"/>
                </a:moveTo>
                <a:lnTo>
                  <a:pt x="2838450" y="381000"/>
                </a:lnTo>
                <a:lnTo>
                  <a:pt x="781050" y="3248025"/>
                </a:lnTo>
                <a:lnTo>
                  <a:pt x="0" y="2686050"/>
                </a:lnTo>
                <a:lnTo>
                  <a:pt x="2219325" y="0"/>
                </a:lnTo>
                <a:close/>
              </a:path>
            </a:pathLst>
          </a:custGeom>
          <a:gradFill>
            <a:gsLst>
              <a:gs pos="100000">
                <a:srgbClr val="46803A"/>
              </a:gs>
              <a:gs pos="28000">
                <a:srgbClr val="356F29"/>
              </a:gs>
              <a:gs pos="72000">
                <a:srgbClr val="3A7631"/>
              </a:gs>
              <a:gs pos="0">
                <a:srgbClr val="34712A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Plain">
              <a:avLst/>
            </a:prstTxWarp>
          </a:bodyPr>
          <a:lstStyle/>
          <a:p>
            <a:pPr algn="ctr"/>
            <a:endParaRPr lang="ru-RU"/>
          </a:p>
        </p:txBody>
      </p:sp>
      <p:sp>
        <p:nvSpPr>
          <p:cNvPr id="7" name="Прямоугольник 3"/>
          <p:cNvSpPr/>
          <p:nvPr/>
        </p:nvSpPr>
        <p:spPr>
          <a:xfrm rot="17747471">
            <a:off x="6314404" y="2962823"/>
            <a:ext cx="3190973" cy="712501"/>
          </a:xfrm>
          <a:custGeom>
            <a:avLst/>
            <a:gdLst>
              <a:gd name="connsiteX0" fmla="*/ 0 w 8489723"/>
              <a:gd name="connsiteY0" fmla="*/ 0 h 769441"/>
              <a:gd name="connsiteX1" fmla="*/ 8489723 w 8489723"/>
              <a:gd name="connsiteY1" fmla="*/ 0 h 769441"/>
              <a:gd name="connsiteX2" fmla="*/ 8489723 w 8489723"/>
              <a:gd name="connsiteY2" fmla="*/ 769441 h 769441"/>
              <a:gd name="connsiteX3" fmla="*/ 0 w 8489723"/>
              <a:gd name="connsiteY3" fmla="*/ 769441 h 769441"/>
              <a:gd name="connsiteX4" fmla="*/ 0 w 8489723"/>
              <a:gd name="connsiteY4" fmla="*/ 0 h 769441"/>
              <a:gd name="connsiteX0" fmla="*/ 0 w 8520431"/>
              <a:gd name="connsiteY0" fmla="*/ 0 h 861157"/>
              <a:gd name="connsiteX1" fmla="*/ 8520431 w 8520431"/>
              <a:gd name="connsiteY1" fmla="*/ 91716 h 861157"/>
              <a:gd name="connsiteX2" fmla="*/ 8520431 w 8520431"/>
              <a:gd name="connsiteY2" fmla="*/ 861157 h 861157"/>
              <a:gd name="connsiteX3" fmla="*/ 30708 w 8520431"/>
              <a:gd name="connsiteY3" fmla="*/ 861157 h 861157"/>
              <a:gd name="connsiteX4" fmla="*/ 0 w 8520431"/>
              <a:gd name="connsiteY4" fmla="*/ 0 h 861157"/>
              <a:gd name="connsiteX0" fmla="*/ 0 w 8520431"/>
              <a:gd name="connsiteY0" fmla="*/ 0 h 921236"/>
              <a:gd name="connsiteX1" fmla="*/ 8520431 w 8520431"/>
              <a:gd name="connsiteY1" fmla="*/ 91716 h 921236"/>
              <a:gd name="connsiteX2" fmla="*/ 8520431 w 8520431"/>
              <a:gd name="connsiteY2" fmla="*/ 861157 h 921236"/>
              <a:gd name="connsiteX3" fmla="*/ 58737 w 8520431"/>
              <a:gd name="connsiteY3" fmla="*/ 921236 h 921236"/>
              <a:gd name="connsiteX4" fmla="*/ 0 w 8520431"/>
              <a:gd name="connsiteY4" fmla="*/ 0 h 921236"/>
              <a:gd name="connsiteX0" fmla="*/ 0 w 8520431"/>
              <a:gd name="connsiteY0" fmla="*/ 0 h 921236"/>
              <a:gd name="connsiteX1" fmla="*/ 8293867 w 8520431"/>
              <a:gd name="connsiteY1" fmla="*/ 21757 h 921236"/>
              <a:gd name="connsiteX2" fmla="*/ 8520431 w 8520431"/>
              <a:gd name="connsiteY2" fmla="*/ 861157 h 921236"/>
              <a:gd name="connsiteX3" fmla="*/ 58737 w 8520431"/>
              <a:gd name="connsiteY3" fmla="*/ 921236 h 921236"/>
              <a:gd name="connsiteX4" fmla="*/ 0 w 8520431"/>
              <a:gd name="connsiteY4" fmla="*/ 0 h 921236"/>
              <a:gd name="connsiteX0" fmla="*/ 0 w 8523135"/>
              <a:gd name="connsiteY0" fmla="*/ 0 h 1042457"/>
              <a:gd name="connsiteX1" fmla="*/ 8296571 w 8523135"/>
              <a:gd name="connsiteY1" fmla="*/ 142978 h 1042457"/>
              <a:gd name="connsiteX2" fmla="*/ 8523135 w 8523135"/>
              <a:gd name="connsiteY2" fmla="*/ 982378 h 1042457"/>
              <a:gd name="connsiteX3" fmla="*/ 61441 w 8523135"/>
              <a:gd name="connsiteY3" fmla="*/ 1042457 h 1042457"/>
              <a:gd name="connsiteX4" fmla="*/ 0 w 8523135"/>
              <a:gd name="connsiteY4" fmla="*/ 0 h 1042457"/>
              <a:gd name="connsiteX0" fmla="*/ 0 w 8523135"/>
              <a:gd name="connsiteY0" fmla="*/ 0 h 1106678"/>
              <a:gd name="connsiteX1" fmla="*/ 8296571 w 8523135"/>
              <a:gd name="connsiteY1" fmla="*/ 142978 h 1106678"/>
              <a:gd name="connsiteX2" fmla="*/ 8523135 w 8523135"/>
              <a:gd name="connsiteY2" fmla="*/ 982378 h 1106678"/>
              <a:gd name="connsiteX3" fmla="*/ 387294 w 8523135"/>
              <a:gd name="connsiteY3" fmla="*/ 1106678 h 1106678"/>
              <a:gd name="connsiteX4" fmla="*/ 0 w 8523135"/>
              <a:gd name="connsiteY4" fmla="*/ 0 h 1106678"/>
              <a:gd name="connsiteX0" fmla="*/ 0 w 8714948"/>
              <a:gd name="connsiteY0" fmla="*/ 0 h 1106678"/>
              <a:gd name="connsiteX1" fmla="*/ 8296571 w 8714948"/>
              <a:gd name="connsiteY1" fmla="*/ 142978 h 1106678"/>
              <a:gd name="connsiteX2" fmla="*/ 8714948 w 8714948"/>
              <a:gd name="connsiteY2" fmla="*/ 1019208 h 1106678"/>
              <a:gd name="connsiteX3" fmla="*/ 387294 w 8714948"/>
              <a:gd name="connsiteY3" fmla="*/ 1106678 h 1106678"/>
              <a:gd name="connsiteX4" fmla="*/ 0 w 8714948"/>
              <a:gd name="connsiteY4" fmla="*/ 0 h 1106678"/>
              <a:gd name="connsiteX0" fmla="*/ 0 w 8714948"/>
              <a:gd name="connsiteY0" fmla="*/ 0 h 1019208"/>
              <a:gd name="connsiteX1" fmla="*/ 8296571 w 8714948"/>
              <a:gd name="connsiteY1" fmla="*/ 142978 h 1019208"/>
              <a:gd name="connsiteX2" fmla="*/ 8714948 w 8714948"/>
              <a:gd name="connsiteY2" fmla="*/ 1019208 h 1019208"/>
              <a:gd name="connsiteX3" fmla="*/ 873829 w 8714948"/>
              <a:gd name="connsiteY3" fmla="*/ 867754 h 1019208"/>
              <a:gd name="connsiteX4" fmla="*/ 0 w 8714948"/>
              <a:gd name="connsiteY4" fmla="*/ 0 h 1019208"/>
              <a:gd name="connsiteX0" fmla="*/ 0 w 8714948"/>
              <a:gd name="connsiteY0" fmla="*/ 0 h 1138882"/>
              <a:gd name="connsiteX1" fmla="*/ 8296571 w 8714948"/>
              <a:gd name="connsiteY1" fmla="*/ 142978 h 1138882"/>
              <a:gd name="connsiteX2" fmla="*/ 8714948 w 8714948"/>
              <a:gd name="connsiteY2" fmla="*/ 1019208 h 1138882"/>
              <a:gd name="connsiteX3" fmla="*/ 382781 w 8714948"/>
              <a:gd name="connsiteY3" fmla="*/ 1138882 h 1138882"/>
              <a:gd name="connsiteX4" fmla="*/ 0 w 8714948"/>
              <a:gd name="connsiteY4" fmla="*/ 0 h 1138882"/>
              <a:gd name="connsiteX0" fmla="*/ 1 w 8347125"/>
              <a:gd name="connsiteY0" fmla="*/ 43392 h 995904"/>
              <a:gd name="connsiteX1" fmla="*/ 7928748 w 8347125"/>
              <a:gd name="connsiteY1" fmla="*/ 0 h 995904"/>
              <a:gd name="connsiteX2" fmla="*/ 8347125 w 8347125"/>
              <a:gd name="connsiteY2" fmla="*/ 876230 h 995904"/>
              <a:gd name="connsiteX3" fmla="*/ 14958 w 8347125"/>
              <a:gd name="connsiteY3" fmla="*/ 995904 h 995904"/>
              <a:gd name="connsiteX4" fmla="*/ 1 w 8347125"/>
              <a:gd name="connsiteY4" fmla="*/ 43392 h 995904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9435" h="1113342">
                <a:moveTo>
                  <a:pt x="0" y="0"/>
                </a:moveTo>
                <a:lnTo>
                  <a:pt x="8241058" y="117438"/>
                </a:lnTo>
                <a:lnTo>
                  <a:pt x="8659435" y="993668"/>
                </a:lnTo>
                <a:lnTo>
                  <a:pt x="327268" y="1113342"/>
                </a:lnTo>
                <a:lnTo>
                  <a:pt x="0" y="0"/>
                </a:lnTo>
                <a:close/>
              </a:path>
            </a:pathLst>
          </a:custGeom>
          <a:noFill/>
          <a:scene3d>
            <a:camera prst="orthographicFront">
              <a:rot lat="2989007" lon="107175" rev="20845572"/>
            </a:camera>
            <a:lightRig rig="threePt" dir="t"/>
          </a:scene3d>
        </p:spPr>
        <p:txBody>
          <a:bodyPr wrap="square" anchor="ctr">
            <a:prstTxWarp prst="textFadeRight">
              <a:avLst>
                <a:gd name="adj" fmla="val 3675"/>
              </a:avLst>
            </a:prstTxWarp>
            <a:spAutoFit/>
            <a:scene3d>
              <a:camera prst="isometricTopUp">
                <a:rot lat="20544564" lon="682295" rev="20729068"/>
              </a:camera>
              <a:lightRig rig="threePt" dir="t"/>
            </a:scene3d>
          </a:bodyPr>
          <a:lstStyle/>
          <a:p>
            <a:pPr marL="261938" indent="-261938"/>
            <a:r>
              <a:rPr 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ФЕРМЕРА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938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>
          <a:xfrm>
            <a:off x="5337673" y="0"/>
            <a:ext cx="6854326" cy="6858000"/>
          </a:xfrm>
          <a:prstGeom prst="rect">
            <a:avLst/>
          </a:prstGeom>
          <a:solidFill>
            <a:srgbClr val="70BF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6638" t="51931" r="80591" b="26856"/>
          <a:stretch/>
        </p:blipFill>
        <p:spPr>
          <a:xfrm>
            <a:off x="9069690" y="3256868"/>
            <a:ext cx="932146" cy="870945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4" name="Рисунок 33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25247" t="51931" r="61982" b="26856"/>
          <a:stretch/>
        </p:blipFill>
        <p:spPr>
          <a:xfrm>
            <a:off x="10231442" y="2608948"/>
            <a:ext cx="1625596" cy="1518866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44180" t="52219" r="43049" b="27076"/>
          <a:stretch/>
        </p:blipFill>
        <p:spPr>
          <a:xfrm>
            <a:off x="10231442" y="4393165"/>
            <a:ext cx="1624853" cy="1481855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63042" t="52093" r="24187" b="26694"/>
          <a:stretch/>
        </p:blipFill>
        <p:spPr>
          <a:xfrm>
            <a:off x="9301068" y="4391195"/>
            <a:ext cx="700768" cy="654758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81732" t="51967" r="5497" b="26820"/>
          <a:stretch/>
        </p:blipFill>
        <p:spPr>
          <a:xfrm>
            <a:off x="11128075" y="1663189"/>
            <a:ext cx="728220" cy="680408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sp>
        <p:nvSpPr>
          <p:cNvPr id="32" name="Равнобедренный треугольник 31"/>
          <p:cNvSpPr/>
          <p:nvPr/>
        </p:nvSpPr>
        <p:spPr>
          <a:xfrm rot="5400000">
            <a:off x="3584662" y="1753012"/>
            <a:ext cx="6858001" cy="335197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334963" y="270302"/>
            <a:ext cx="7071677" cy="707886"/>
          </a:xfrm>
          <a:prstGeom prst="rect">
            <a:avLst/>
          </a:prstGeom>
          <a:solidFill>
            <a:srgbClr val="088054"/>
          </a:solidFill>
        </p:spPr>
        <p:txBody>
          <a:bodyPr wrap="square">
            <a:spAutoFit/>
          </a:bodyPr>
          <a:lstStyle/>
          <a:p>
            <a:pPr marL="261938" indent="-261938"/>
            <a:r>
              <a:rPr lang="ru-RU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ЛАНЫ НА БУДУЩЕЕ</a:t>
            </a:r>
            <a:endParaRPr lang="ru-RU" sz="4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22820" y="1304078"/>
            <a:ext cx="7207267" cy="4924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60009">
              <a:spcBef>
                <a:spcPts val="3000"/>
              </a:spcBef>
              <a:defRPr/>
            </a:pPr>
            <a:r>
              <a:rPr lang="ru-RU" sz="2000" b="1" spc="-11" dirty="0">
                <a:solidFill>
                  <a:srgbClr val="088054"/>
                </a:solidFill>
                <a:latin typeface="Proxima Nova Rg" panose="02000506030000020004" pitchFamily="2" charset="0"/>
              </a:rPr>
              <a:t>МАСШТАБИРОВАНИЕ ПРОЕКТА</a:t>
            </a:r>
            <a:br>
              <a:rPr lang="ru-RU" sz="2000" b="1" spc="-11" dirty="0">
                <a:solidFill>
                  <a:srgbClr val="088054"/>
                </a:solidFill>
                <a:latin typeface="Proxima Nova Rg" panose="02000506030000020004" pitchFamily="2" charset="0"/>
              </a:rPr>
            </a:br>
            <a:r>
              <a:rPr lang="ru-RU" sz="2000" b="1" spc="-11" dirty="0">
                <a:solidFill>
                  <a:srgbClr val="088054"/>
                </a:solidFill>
                <a:latin typeface="Proxima Nova Rg" panose="02000506030000020004" pitchFamily="2" charset="0"/>
              </a:rPr>
              <a:t>В РЕГИОНАХ ПРИСУТСТВИЯ БАНКА</a:t>
            </a:r>
            <a:br>
              <a:rPr lang="ru-RU" sz="2000" b="1" spc="-11" dirty="0">
                <a:solidFill>
                  <a:srgbClr val="088054"/>
                </a:solidFill>
                <a:latin typeface="Proxima Nova Rg" panose="02000506030000020004" pitchFamily="2" charset="0"/>
              </a:rPr>
            </a:br>
            <a: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–</a:t>
            </a:r>
            <a:r>
              <a:rPr lang="ru-RU" sz="1600" dirty="0">
                <a:solidFill>
                  <a:srgbClr val="000000"/>
                </a:solidFill>
                <a:latin typeface="Proxima Nova Rg" panose="02000506030000020004" pitchFamily="2" charset="0"/>
              </a:rPr>
              <a:t> </a:t>
            </a:r>
            <a: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запуск модульных программ обучения</a:t>
            </a:r>
            <a:b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</a:br>
            <a: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в дистанционном формате</a:t>
            </a:r>
          </a:p>
          <a:p>
            <a:pPr defTabSz="360009">
              <a:spcBef>
                <a:spcPts val="3000"/>
              </a:spcBef>
              <a:defRPr/>
            </a:pPr>
            <a:r>
              <a:rPr lang="ru-RU" sz="2000" b="1" spc="-11" dirty="0">
                <a:solidFill>
                  <a:srgbClr val="088054"/>
                </a:solidFill>
                <a:latin typeface="Proxima Nova Rg" panose="02000506030000020004" pitchFamily="2" charset="0"/>
              </a:rPr>
              <a:t>РАЗВИТИЕ УНИКАЛЬНЫХ КОМПЕТЕНЦИЙ</a:t>
            </a:r>
            <a:br>
              <a:rPr lang="ru-RU" sz="2000" b="1" spc="-11" dirty="0">
                <a:solidFill>
                  <a:srgbClr val="088054"/>
                </a:solidFill>
                <a:latin typeface="Proxima Nova Rg" panose="02000506030000020004" pitchFamily="2" charset="0"/>
              </a:rPr>
            </a:br>
            <a:r>
              <a:rPr lang="ru-RU" sz="2000" b="1" spc="-11" dirty="0">
                <a:solidFill>
                  <a:srgbClr val="088054"/>
                </a:solidFill>
                <a:latin typeface="Proxima Nova Rg" panose="02000506030000020004" pitchFamily="2" charset="0"/>
              </a:rPr>
              <a:t>ДЛЯ ПОВЫШЕНИЯ ПРЕДПРИНИМАТЕЛЬСКОЙ</a:t>
            </a:r>
            <a:br>
              <a:rPr lang="ru-RU" sz="2000" b="1" spc="-11" dirty="0">
                <a:solidFill>
                  <a:srgbClr val="088054"/>
                </a:solidFill>
                <a:latin typeface="Proxima Nova Rg" panose="02000506030000020004" pitchFamily="2" charset="0"/>
              </a:rPr>
            </a:br>
            <a:r>
              <a:rPr lang="ru-RU" sz="2000" b="1" spc="-11" dirty="0">
                <a:solidFill>
                  <a:srgbClr val="088054"/>
                </a:solidFill>
                <a:latin typeface="Proxima Nova Rg" panose="02000506030000020004" pitchFamily="2" charset="0"/>
              </a:rPr>
              <a:t>АКТИВНОСТИ НА СЕЛЕ</a:t>
            </a:r>
            <a:br>
              <a:rPr lang="ru-RU" sz="2000" b="1" spc="-11" dirty="0">
                <a:solidFill>
                  <a:srgbClr val="088054"/>
                </a:solidFill>
                <a:latin typeface="Proxima Nova Rg" panose="02000506030000020004" pitchFamily="2" charset="0"/>
              </a:rPr>
            </a:br>
            <a: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– в том числе новые направления обучения</a:t>
            </a:r>
            <a:b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</a:br>
            <a: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по сельскому и </a:t>
            </a:r>
            <a:r>
              <a:rPr lang="ru-RU" sz="1600" dirty="0" err="1" smtClean="0">
                <a:solidFill>
                  <a:srgbClr val="000000"/>
                </a:solidFill>
                <a:latin typeface="Proxima Nova Rg" panose="02000506030000020004" pitchFamily="2" charset="0"/>
              </a:rPr>
              <a:t>агротуризму</a:t>
            </a:r>
            <a: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, органическое производство,</a:t>
            </a:r>
            <a:b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</a:br>
            <a: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виноградарство</a:t>
            </a:r>
          </a:p>
          <a:p>
            <a:pPr defTabSz="360009">
              <a:spcBef>
                <a:spcPts val="3000"/>
              </a:spcBef>
              <a:defRPr/>
            </a:pPr>
            <a:r>
              <a:rPr lang="ru-RU" sz="2000" b="1" spc="-11" dirty="0">
                <a:solidFill>
                  <a:srgbClr val="088054"/>
                </a:solidFill>
                <a:latin typeface="Proxima Nova Rg" panose="02000506030000020004" pitchFamily="2" charset="0"/>
              </a:rPr>
              <a:t>РАСШИРЕНИЕ ПЕРЕЧНЯ УЧАСТНИКОВ</a:t>
            </a:r>
            <a:r>
              <a:rPr lang="ru-RU" sz="2000" b="1" spc="-11" dirty="0">
                <a:solidFill>
                  <a:schemeClr val="accent2"/>
                </a:solidFill>
                <a:latin typeface="Proxima Nova Rg" panose="02000506030000020004" pitchFamily="2" charset="0"/>
              </a:rPr>
              <a:t/>
            </a:r>
            <a:br>
              <a:rPr lang="ru-RU" sz="2000" b="1" spc="-11" dirty="0">
                <a:solidFill>
                  <a:schemeClr val="accent2"/>
                </a:solidFill>
                <a:latin typeface="Proxima Nova Rg" panose="02000506030000020004" pitchFamily="2" charset="0"/>
              </a:rPr>
            </a:br>
            <a: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– включение в программу компетенции учреждений</a:t>
            </a:r>
            <a:b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</a:br>
            <a: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дополнительного образования, представителей</a:t>
            </a:r>
            <a:b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</a:br>
            <a: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федеральных торговых сетей,</a:t>
            </a:r>
            <a:b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</a:br>
            <a:r>
              <a:rPr lang="ru-RU" sz="16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лидеров мнений</a:t>
            </a:r>
          </a:p>
        </p:txBody>
      </p:sp>
      <p:sp>
        <p:nvSpPr>
          <p:cNvPr id="22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20188" y="6554394"/>
            <a:ext cx="2727006" cy="153888"/>
          </a:xfrm>
        </p:spPr>
        <p:txBody>
          <a:bodyPr/>
          <a:lstStyle/>
          <a:p>
            <a:fld id="{DAA9B757-E82C-4C61-B4AC-FDC45BBF87A6}" type="slidenum">
              <a:rPr lang="ru-RU" sz="1100" smtClean="0"/>
              <a:pPr/>
              <a:t>10</a:t>
            </a:fld>
            <a:endParaRPr lang="ru-RU" sz="1100" dirty="0"/>
          </a:p>
        </p:txBody>
      </p:sp>
      <p:sp>
        <p:nvSpPr>
          <p:cNvPr id="25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334963" y="6554394"/>
            <a:ext cx="8605837" cy="153888"/>
          </a:xfrm>
        </p:spPr>
        <p:txBody>
          <a:bodyPr/>
          <a:lstStyle/>
          <a:p>
            <a:r>
              <a:rPr lang="ru-RU" sz="1100" b="1" dirty="0"/>
              <a:t>РОССЕЛЬХОЗБАНК: </a:t>
            </a:r>
            <a:r>
              <a:rPr lang="ru-RU" sz="1100" dirty="0"/>
              <a:t>СОВРЕМЕННЫЕ ПОДХОДЫ В ПОДГОТОВКЕ КАДРОВ АГРОПРОМЫШЛЕННОГО </a:t>
            </a:r>
            <a:r>
              <a:rPr lang="ru-RU" sz="1100" dirty="0" smtClean="0"/>
              <a:t>КОМПЛЕКСА </a:t>
            </a:r>
            <a:endParaRPr lang="ru-RU" sz="1100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52038" y="253731"/>
            <a:ext cx="1410934" cy="410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277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l="9904" t="15689" r="10000" b="16332"/>
          <a:stretch/>
        </p:blipFill>
        <p:spPr>
          <a:xfrm>
            <a:off x="-14514" y="-58057"/>
            <a:ext cx="12206514" cy="690880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5283199" y="-58057"/>
            <a:ext cx="6908801" cy="6923314"/>
          </a:xfrm>
          <a:custGeom>
            <a:avLst/>
            <a:gdLst>
              <a:gd name="connsiteX0" fmla="*/ 0 w 6633029"/>
              <a:gd name="connsiteY0" fmla="*/ 0 h 6908800"/>
              <a:gd name="connsiteX1" fmla="*/ 6633029 w 6633029"/>
              <a:gd name="connsiteY1" fmla="*/ 0 h 6908800"/>
              <a:gd name="connsiteX2" fmla="*/ 6633029 w 6633029"/>
              <a:gd name="connsiteY2" fmla="*/ 6908800 h 6908800"/>
              <a:gd name="connsiteX3" fmla="*/ 0 w 6633029"/>
              <a:gd name="connsiteY3" fmla="*/ 6908800 h 6908800"/>
              <a:gd name="connsiteX4" fmla="*/ 0 w 6633029"/>
              <a:gd name="connsiteY4" fmla="*/ 0 h 6908800"/>
              <a:gd name="connsiteX0" fmla="*/ 275772 w 6908801"/>
              <a:gd name="connsiteY0" fmla="*/ 0 h 6923314"/>
              <a:gd name="connsiteX1" fmla="*/ 6908801 w 6908801"/>
              <a:gd name="connsiteY1" fmla="*/ 0 h 6923314"/>
              <a:gd name="connsiteX2" fmla="*/ 6908801 w 6908801"/>
              <a:gd name="connsiteY2" fmla="*/ 6908800 h 6923314"/>
              <a:gd name="connsiteX3" fmla="*/ 0 w 6908801"/>
              <a:gd name="connsiteY3" fmla="*/ 6923314 h 6923314"/>
              <a:gd name="connsiteX4" fmla="*/ 275772 w 6908801"/>
              <a:gd name="connsiteY4" fmla="*/ 0 h 6923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8801" h="6923314">
                <a:moveTo>
                  <a:pt x="275772" y="0"/>
                </a:moveTo>
                <a:lnTo>
                  <a:pt x="6908801" y="0"/>
                </a:lnTo>
                <a:lnTo>
                  <a:pt x="6908801" y="6908800"/>
                </a:lnTo>
                <a:lnTo>
                  <a:pt x="0" y="6923314"/>
                </a:lnTo>
                <a:lnTo>
                  <a:pt x="275772" y="0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xmlns="" id="{F38AB24D-97EE-4071-B80D-2624DCD3CF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65" r="76724" b="1"/>
          <a:stretch/>
        </p:blipFill>
        <p:spPr bwMode="auto">
          <a:xfrm>
            <a:off x="334963" y="209551"/>
            <a:ext cx="614744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52038" y="253731"/>
            <a:ext cx="1410934" cy="41083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3294289" y="2656053"/>
            <a:ext cx="6215471" cy="707886"/>
          </a:xfrm>
          <a:prstGeom prst="rect">
            <a:avLst/>
          </a:prstGeom>
          <a:solidFill>
            <a:srgbClr val="088054"/>
          </a:solidFill>
        </p:spPr>
        <p:txBody>
          <a:bodyPr wrap="square">
            <a:spAutoFit/>
          </a:bodyPr>
          <a:lstStyle/>
          <a:p>
            <a:pPr marL="261938" indent="-261938"/>
            <a:r>
              <a:rPr lang="ru-RU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7474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>
          <a:xfrm>
            <a:off x="5337673" y="0"/>
            <a:ext cx="6854326" cy="6858000"/>
          </a:xfrm>
          <a:prstGeom prst="rect">
            <a:avLst/>
          </a:prstGeom>
          <a:solidFill>
            <a:srgbClr val="70BF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6638" t="51931" r="80591" b="26856"/>
          <a:stretch/>
        </p:blipFill>
        <p:spPr>
          <a:xfrm>
            <a:off x="9069690" y="3256868"/>
            <a:ext cx="932146" cy="870945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4" name="Рисунок 33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25247" t="51931" r="61982" b="26856"/>
          <a:stretch/>
        </p:blipFill>
        <p:spPr>
          <a:xfrm>
            <a:off x="10231442" y="2608948"/>
            <a:ext cx="1625596" cy="1518866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44180" t="52219" r="43049" b="27076"/>
          <a:stretch/>
        </p:blipFill>
        <p:spPr>
          <a:xfrm>
            <a:off x="10231442" y="4393165"/>
            <a:ext cx="1624853" cy="1481855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63042" t="52093" r="24187" b="26694"/>
          <a:stretch/>
        </p:blipFill>
        <p:spPr>
          <a:xfrm>
            <a:off x="9301068" y="4391195"/>
            <a:ext cx="700768" cy="654758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81732" t="51967" r="5497" b="26820"/>
          <a:stretch/>
        </p:blipFill>
        <p:spPr>
          <a:xfrm>
            <a:off x="11128075" y="1663189"/>
            <a:ext cx="728220" cy="680408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sp>
        <p:nvSpPr>
          <p:cNvPr id="32" name="Равнобедренный треугольник 31"/>
          <p:cNvSpPr/>
          <p:nvPr/>
        </p:nvSpPr>
        <p:spPr>
          <a:xfrm rot="5400000">
            <a:off x="3584662" y="1753012"/>
            <a:ext cx="6858001" cy="335197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334963" y="270302"/>
            <a:ext cx="7865371" cy="707886"/>
          </a:xfrm>
          <a:prstGeom prst="rect">
            <a:avLst/>
          </a:prstGeom>
          <a:solidFill>
            <a:srgbClr val="088054"/>
          </a:solidFill>
        </p:spPr>
        <p:txBody>
          <a:bodyPr wrap="square">
            <a:spAutoFit/>
          </a:bodyPr>
          <a:lstStyle/>
          <a:p>
            <a:pPr marL="261938" indent="-261938"/>
            <a:r>
              <a:rPr lang="ru-RU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ОСНОВНАЯ </a:t>
            </a:r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ПРОЕКТА</a:t>
            </a:r>
            <a:endParaRPr lang="ru-RU" sz="4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D51636A0-A91B-6041-9ED0-C2D27B508F91}"/>
              </a:ext>
            </a:extLst>
          </p:cNvPr>
          <p:cNvSpPr/>
          <p:nvPr/>
        </p:nvSpPr>
        <p:spPr>
          <a:xfrm>
            <a:off x="1635566" y="3773953"/>
            <a:ext cx="1436247" cy="646331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defTabSz="371475">
              <a:defRPr/>
            </a:pPr>
            <a: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ВОЛНЫ ОБУЧЕНИЯ СЛУШАТЕЛЕЙ</a:t>
            </a:r>
            <a:endParaRPr lang="ru-RU" sz="1200" b="1" dirty="0">
              <a:solidFill>
                <a:srgbClr val="195137"/>
              </a:solidFill>
              <a:latin typeface="Arial" panose="020B0604020202020204" pitchFamily="34" charset="0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D51636A0-A91B-6041-9ED0-C2D27B508F91}"/>
              </a:ext>
            </a:extLst>
          </p:cNvPr>
          <p:cNvSpPr/>
          <p:nvPr/>
        </p:nvSpPr>
        <p:spPr>
          <a:xfrm>
            <a:off x="861375" y="3310905"/>
            <a:ext cx="916837" cy="1499623"/>
          </a:xfrm>
          <a:prstGeom prst="rect">
            <a:avLst/>
          </a:prstGeom>
          <a:noFill/>
        </p:spPr>
        <p:txBody>
          <a:bodyPr wrap="square" tIns="72000" rIns="108000" bIns="72000" anchor="ctr">
            <a:spAutoFit/>
          </a:bodyPr>
          <a:lstStyle/>
          <a:p>
            <a:pPr algn="ctr" defTabSz="371475">
              <a:defRPr/>
            </a:pPr>
            <a:r>
              <a:rPr lang="ru-RU" sz="8800" b="1" dirty="0">
                <a:solidFill>
                  <a:srgbClr val="088054"/>
                </a:solidFill>
                <a:latin typeface="Ristretto Pro" panose="020B0008030200020004" pitchFamily="34" charset="-52"/>
                <a:cs typeface="Arial" panose="020B0604020202020204" pitchFamily="34" charset="0"/>
                <a:sym typeface="Arial" charset="0"/>
              </a:rPr>
              <a:t>4</a:t>
            </a:r>
            <a:endParaRPr lang="ru-RU" sz="3600" b="1" dirty="0">
              <a:solidFill>
                <a:srgbClr val="088054"/>
              </a:solidFill>
              <a:latin typeface="Ristretto Pro" panose="020B0008030200020004" pitchFamily="34" charset="-52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D51636A0-A91B-6041-9ED0-C2D27B508F91}"/>
              </a:ext>
            </a:extLst>
          </p:cNvPr>
          <p:cNvSpPr/>
          <p:nvPr/>
        </p:nvSpPr>
        <p:spPr>
          <a:xfrm>
            <a:off x="-88601" y="4742491"/>
            <a:ext cx="2320505" cy="1499623"/>
          </a:xfrm>
          <a:prstGeom prst="rect">
            <a:avLst/>
          </a:prstGeom>
          <a:noFill/>
        </p:spPr>
        <p:txBody>
          <a:bodyPr wrap="square" tIns="72000" rIns="108000" bIns="72000" anchor="ctr">
            <a:spAutoFit/>
          </a:bodyPr>
          <a:lstStyle/>
          <a:p>
            <a:pPr algn="ctr" defTabSz="371475">
              <a:defRPr/>
            </a:pPr>
            <a:r>
              <a:rPr lang="en-US" sz="8800" b="1" dirty="0" smtClean="0">
                <a:solidFill>
                  <a:srgbClr val="088054"/>
                </a:solidFill>
                <a:latin typeface="Ristretto Pro" panose="020B0008030200020004" pitchFamily="34" charset="-52"/>
                <a:cs typeface="Arial" panose="020B0604020202020204" pitchFamily="34" charset="0"/>
                <a:sym typeface="Arial" charset="0"/>
              </a:rPr>
              <a:t>&gt;</a:t>
            </a:r>
            <a:r>
              <a:rPr lang="ru-RU" sz="8800" b="1" dirty="0" smtClean="0">
                <a:solidFill>
                  <a:srgbClr val="088054"/>
                </a:solidFill>
                <a:latin typeface="Ristretto Pro" panose="020B0008030200020004" pitchFamily="34" charset="-52"/>
                <a:cs typeface="Arial" panose="020B0604020202020204" pitchFamily="34" charset="0"/>
                <a:sym typeface="Arial" charset="0"/>
              </a:rPr>
              <a:t>5</a:t>
            </a:r>
            <a:r>
              <a:rPr lang="en-US" sz="8800" b="1" dirty="0" smtClean="0">
                <a:solidFill>
                  <a:srgbClr val="088054"/>
                </a:solidFill>
                <a:latin typeface="Ristretto Pro" panose="020B0008030200020004" pitchFamily="34" charset="-52"/>
                <a:cs typeface="Arial" panose="020B0604020202020204" pitchFamily="34" charset="0"/>
                <a:sym typeface="Arial" charset="0"/>
              </a:rPr>
              <a:t>0</a:t>
            </a:r>
            <a:endParaRPr lang="ru-RU" sz="3600" b="1" dirty="0">
              <a:solidFill>
                <a:srgbClr val="088054"/>
              </a:solidFill>
              <a:latin typeface="Ristretto Pro" panose="020B0008030200020004" pitchFamily="34" charset="-52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D51636A0-A91B-6041-9ED0-C2D27B508F91}"/>
              </a:ext>
            </a:extLst>
          </p:cNvPr>
          <p:cNvSpPr/>
          <p:nvPr/>
        </p:nvSpPr>
        <p:spPr>
          <a:xfrm>
            <a:off x="1917679" y="5110822"/>
            <a:ext cx="2170241" cy="830997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defTabSz="371475">
              <a:defRPr/>
            </a:pPr>
            <a: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УЧЕБНЫХ</a:t>
            </a:r>
            <a:b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</a:br>
            <a: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ЗАВЕДЕНИЙ, ПОДВЕДОМСТВЕННЫХ</a:t>
            </a:r>
          </a:p>
          <a:p>
            <a:pPr defTabSz="371475">
              <a:defRPr/>
            </a:pPr>
            <a: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МСХ</a:t>
            </a:r>
            <a:endParaRPr lang="ru-RU" sz="1200" b="1" dirty="0">
              <a:solidFill>
                <a:srgbClr val="195137"/>
              </a:solidFill>
              <a:latin typeface="Arial" panose="020B0604020202020204" pitchFamily="34" charset="0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D51636A0-A91B-6041-9ED0-C2D27B508F91}"/>
              </a:ext>
            </a:extLst>
          </p:cNvPr>
          <p:cNvSpPr/>
          <p:nvPr/>
        </p:nvSpPr>
        <p:spPr>
          <a:xfrm>
            <a:off x="2336949" y="3310905"/>
            <a:ext cx="4440238" cy="1499623"/>
          </a:xfrm>
          <a:prstGeom prst="rect">
            <a:avLst/>
          </a:prstGeom>
          <a:noFill/>
        </p:spPr>
        <p:txBody>
          <a:bodyPr wrap="square" tIns="72000" rIns="108000" bIns="72000" anchor="ctr">
            <a:spAutoFit/>
          </a:bodyPr>
          <a:lstStyle/>
          <a:p>
            <a:pPr algn="ctr" defTabSz="371475">
              <a:defRPr/>
            </a:pPr>
            <a:r>
              <a:rPr lang="en-US" sz="8800" b="1" dirty="0" smtClean="0">
                <a:solidFill>
                  <a:srgbClr val="088054"/>
                </a:solidFill>
                <a:latin typeface="Ristretto Pro" panose="020B0008030200020004" pitchFamily="34" charset="-52"/>
                <a:cs typeface="Arial" panose="020B0604020202020204" pitchFamily="34" charset="0"/>
                <a:sym typeface="Arial" charset="0"/>
              </a:rPr>
              <a:t>&gt;</a:t>
            </a:r>
            <a:r>
              <a:rPr lang="ru-RU" sz="8800" b="1" dirty="0" smtClean="0">
                <a:solidFill>
                  <a:srgbClr val="088054"/>
                </a:solidFill>
                <a:latin typeface="Ristretto Pro" panose="020B0008030200020004" pitchFamily="34" charset="-52"/>
                <a:cs typeface="Arial" panose="020B0604020202020204" pitchFamily="34" charset="0"/>
                <a:sym typeface="Arial" charset="0"/>
              </a:rPr>
              <a:t>1</a:t>
            </a:r>
            <a:r>
              <a:rPr lang="en-US" sz="8800" b="1" dirty="0" smtClean="0">
                <a:solidFill>
                  <a:srgbClr val="088054"/>
                </a:solidFill>
                <a:latin typeface="Ristretto Pro" panose="020B0008030200020004" pitchFamily="34" charset="-52"/>
                <a:cs typeface="Arial" panose="020B0604020202020204" pitchFamily="34" charset="0"/>
                <a:sym typeface="Arial" charset="0"/>
              </a:rPr>
              <a:t> </a:t>
            </a:r>
            <a:r>
              <a:rPr lang="ru-RU" sz="8800" b="1" dirty="0" smtClean="0">
                <a:solidFill>
                  <a:srgbClr val="088054"/>
                </a:solidFill>
                <a:latin typeface="Ristretto Pro" panose="020B0008030200020004" pitchFamily="34" charset="-52"/>
                <a:cs typeface="Arial" panose="020B0604020202020204" pitchFamily="34" charset="0"/>
                <a:sym typeface="Arial" charset="0"/>
              </a:rPr>
              <a:t>9</a:t>
            </a:r>
            <a:r>
              <a:rPr lang="en-US" sz="8800" b="1" dirty="0" smtClean="0">
                <a:solidFill>
                  <a:srgbClr val="088054"/>
                </a:solidFill>
                <a:latin typeface="Ristretto Pro" panose="020B0008030200020004" pitchFamily="34" charset="-52"/>
                <a:cs typeface="Arial" panose="020B0604020202020204" pitchFamily="34" charset="0"/>
                <a:sym typeface="Arial" charset="0"/>
              </a:rPr>
              <a:t>00</a:t>
            </a:r>
            <a:endParaRPr lang="ru-RU" sz="8800" b="1" dirty="0">
              <a:solidFill>
                <a:srgbClr val="088054"/>
              </a:solidFill>
              <a:latin typeface="Ristretto Pro" panose="020B0008030200020004" pitchFamily="34" charset="-52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D51636A0-A91B-6041-9ED0-C2D27B508F91}"/>
              </a:ext>
            </a:extLst>
          </p:cNvPr>
          <p:cNvSpPr/>
          <p:nvPr/>
        </p:nvSpPr>
        <p:spPr>
          <a:xfrm>
            <a:off x="6046134" y="3755152"/>
            <a:ext cx="2154200" cy="646331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defTabSz="371475">
              <a:defRPr/>
            </a:pPr>
            <a: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НАЧИНАЮЩИХ И ДЕЙСТВУЮЩИХ ФЕРМЕРОВ</a:t>
            </a:r>
            <a:endParaRPr lang="ru-RU" sz="1200" b="1" dirty="0">
              <a:solidFill>
                <a:srgbClr val="195137"/>
              </a:solidFill>
              <a:latin typeface="Arial" panose="020B0604020202020204" pitchFamily="34" charset="0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D51636A0-A91B-6041-9ED0-C2D27B508F91}"/>
              </a:ext>
            </a:extLst>
          </p:cNvPr>
          <p:cNvSpPr/>
          <p:nvPr/>
        </p:nvSpPr>
        <p:spPr>
          <a:xfrm>
            <a:off x="5106098" y="5261469"/>
            <a:ext cx="1741834" cy="461665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defTabSz="371475">
              <a:defRPr/>
            </a:pPr>
            <a: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РЕГИОНОВ-</a:t>
            </a:r>
            <a:b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</a:br>
            <a: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УЧАСТНИКОВ</a:t>
            </a:r>
            <a:endParaRPr lang="ru-RU" sz="1200" b="1" dirty="0">
              <a:solidFill>
                <a:srgbClr val="195137"/>
              </a:solidFill>
              <a:latin typeface="Arial" panose="020B0604020202020204" pitchFamily="34" charset="0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D51636A0-A91B-6041-9ED0-C2D27B508F91}"/>
              </a:ext>
            </a:extLst>
          </p:cNvPr>
          <p:cNvSpPr/>
          <p:nvPr/>
        </p:nvSpPr>
        <p:spPr>
          <a:xfrm>
            <a:off x="3303361" y="4742491"/>
            <a:ext cx="2320505" cy="1499623"/>
          </a:xfrm>
          <a:prstGeom prst="rect">
            <a:avLst/>
          </a:prstGeom>
          <a:noFill/>
        </p:spPr>
        <p:txBody>
          <a:bodyPr wrap="square" tIns="72000" rIns="108000" bIns="72000" anchor="ctr">
            <a:spAutoFit/>
          </a:bodyPr>
          <a:lstStyle/>
          <a:p>
            <a:pPr algn="ctr" defTabSz="371475">
              <a:defRPr/>
            </a:pPr>
            <a:r>
              <a:rPr lang="ru-RU" sz="8800" b="1" dirty="0" smtClean="0">
                <a:solidFill>
                  <a:srgbClr val="088054"/>
                </a:solidFill>
                <a:latin typeface="Ristretto Pro" panose="020B0008030200020004" pitchFamily="34" charset="-52"/>
                <a:cs typeface="Arial" panose="020B0604020202020204" pitchFamily="34" charset="0"/>
                <a:sym typeface="Arial" charset="0"/>
              </a:rPr>
              <a:t>50</a:t>
            </a:r>
            <a:endParaRPr lang="ru-RU" sz="3600" b="1" dirty="0">
              <a:solidFill>
                <a:srgbClr val="088054"/>
              </a:solidFill>
              <a:latin typeface="Ristretto Pro" panose="020B0008030200020004" pitchFamily="34" charset="-52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02524C8A-301D-B341-A66F-179877B2B857}"/>
              </a:ext>
            </a:extLst>
          </p:cNvPr>
          <p:cNvSpPr txBox="1"/>
          <p:nvPr/>
        </p:nvSpPr>
        <p:spPr>
          <a:xfrm>
            <a:off x="1275457" y="1554253"/>
            <a:ext cx="5557839" cy="123110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Обучение в Школе фермера позволяет получить</a:t>
            </a:r>
            <a:r>
              <a:rPr lang="ru-RU" sz="2000" dirty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 </a:t>
            </a:r>
            <a:r>
              <a:rPr lang="ru-RU" sz="2000" dirty="0" smtClean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необходимые </a:t>
            </a:r>
            <a:r>
              <a:rPr lang="ru-RU" sz="2000" b="1" dirty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знания и навыки для производства продукции </a:t>
            </a:r>
            <a:r>
              <a:rPr lang="ru-RU" sz="2000" b="1" dirty="0" smtClean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АПК</a:t>
            </a:r>
            <a:r>
              <a:rPr lang="ru-RU" sz="2000" dirty="0" smtClean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 и</a:t>
            </a:r>
            <a:r>
              <a:rPr lang="ru-RU" sz="2000" dirty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 </a:t>
            </a:r>
            <a:r>
              <a:rPr lang="ru-RU" sz="2000" dirty="0" smtClean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встраивания </a:t>
            </a:r>
            <a:r>
              <a:rPr lang="ru-RU" sz="2000" dirty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в производственно-сбытовые цепочки</a:t>
            </a:r>
          </a:p>
        </p:txBody>
      </p:sp>
      <p:sp>
        <p:nvSpPr>
          <p:cNvPr id="45" name="Freeform 50"/>
          <p:cNvSpPr>
            <a:spLocks noEditPoints="1"/>
          </p:cNvSpPr>
          <p:nvPr/>
        </p:nvSpPr>
        <p:spPr bwMode="auto">
          <a:xfrm>
            <a:off x="434437" y="1785403"/>
            <a:ext cx="589872" cy="588782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20188" y="6554394"/>
            <a:ext cx="2727006" cy="153888"/>
          </a:xfrm>
        </p:spPr>
        <p:txBody>
          <a:bodyPr/>
          <a:lstStyle/>
          <a:p>
            <a:fld id="{DAA9B757-E82C-4C61-B4AC-FDC45BBF87A6}" type="slidenum">
              <a:rPr lang="ru-RU" sz="1100" smtClean="0"/>
              <a:pPr/>
              <a:t>2</a:t>
            </a:fld>
            <a:endParaRPr lang="ru-RU" sz="1100" dirty="0"/>
          </a:p>
        </p:txBody>
      </p:sp>
      <p:sp>
        <p:nvSpPr>
          <p:cNvPr id="47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334963" y="6554394"/>
            <a:ext cx="8605837" cy="153888"/>
          </a:xfrm>
        </p:spPr>
        <p:txBody>
          <a:bodyPr/>
          <a:lstStyle/>
          <a:p>
            <a:r>
              <a:rPr lang="ru-RU" sz="1100" b="1" dirty="0"/>
              <a:t>РОССЕЛЬХОЗБАНК: </a:t>
            </a:r>
            <a:r>
              <a:rPr lang="ru-RU" sz="1100" dirty="0"/>
              <a:t>СОВРЕМЕННЫЕ ПОДХОДЫ В ПОДГОТОВКЕ КАДРОВ АГРОПРОМЫШЛЕННОГО </a:t>
            </a:r>
            <a:r>
              <a:rPr lang="ru-RU" sz="1100" dirty="0" smtClean="0"/>
              <a:t>КОМПЛЕКСА </a:t>
            </a:r>
            <a:endParaRPr lang="ru-RU" sz="1100" dirty="0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52038" y="253731"/>
            <a:ext cx="1410934" cy="410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564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A9B757-E82C-4C61-B4AC-FDC45BBF87A6}" type="slidenum">
              <a:rPr lang="ru-RU" smtClean="0"/>
              <a:pPr/>
              <a:t>3</a:t>
            </a:fld>
            <a:endParaRPr lang="ru-RU" dirty="0"/>
          </a:p>
        </p:txBody>
      </p:sp>
      <p:grpSp>
        <p:nvGrpSpPr>
          <p:cNvPr id="52" name="Group 438"/>
          <p:cNvGrpSpPr/>
          <p:nvPr/>
        </p:nvGrpSpPr>
        <p:grpSpPr>
          <a:xfrm>
            <a:off x="772046" y="1632480"/>
            <a:ext cx="485797" cy="464484"/>
            <a:chOff x="814388" y="4854575"/>
            <a:chExt cx="506413" cy="484188"/>
          </a:xfrm>
          <a:solidFill>
            <a:schemeClr val="tx1"/>
          </a:solidFill>
        </p:grpSpPr>
        <p:sp>
          <p:nvSpPr>
            <p:cNvPr id="53" name="Freeform 58"/>
            <p:cNvSpPr>
              <a:spLocks/>
            </p:cNvSpPr>
            <p:nvPr/>
          </p:nvSpPr>
          <p:spPr bwMode="auto">
            <a:xfrm>
              <a:off x="814388" y="5318125"/>
              <a:ext cx="20638" cy="20638"/>
            </a:xfrm>
            <a:custGeom>
              <a:avLst/>
              <a:gdLst>
                <a:gd name="T0" fmla="*/ 169 w 336"/>
                <a:gd name="T1" fmla="*/ 0 h 333"/>
                <a:gd name="T2" fmla="*/ 167 w 336"/>
                <a:gd name="T3" fmla="*/ 0 h 333"/>
                <a:gd name="T4" fmla="*/ 0 w 336"/>
                <a:gd name="T5" fmla="*/ 167 h 333"/>
                <a:gd name="T6" fmla="*/ 167 w 336"/>
                <a:gd name="T7" fmla="*/ 333 h 333"/>
                <a:gd name="T8" fmla="*/ 169 w 336"/>
                <a:gd name="T9" fmla="*/ 333 h 333"/>
                <a:gd name="T10" fmla="*/ 336 w 336"/>
                <a:gd name="T11" fmla="*/ 167 h 333"/>
                <a:gd name="T12" fmla="*/ 169 w 336"/>
                <a:gd name="T13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6" h="333">
                  <a:moveTo>
                    <a:pt x="169" y="0"/>
                  </a:moveTo>
                  <a:lnTo>
                    <a:pt x="167" y="0"/>
                  </a:lnTo>
                  <a:cubicBezTo>
                    <a:pt x="75" y="0"/>
                    <a:pt x="0" y="75"/>
                    <a:pt x="0" y="167"/>
                  </a:cubicBezTo>
                  <a:cubicBezTo>
                    <a:pt x="0" y="259"/>
                    <a:pt x="75" y="333"/>
                    <a:pt x="167" y="333"/>
                  </a:cubicBezTo>
                  <a:lnTo>
                    <a:pt x="169" y="333"/>
                  </a:lnTo>
                  <a:cubicBezTo>
                    <a:pt x="261" y="333"/>
                    <a:pt x="336" y="259"/>
                    <a:pt x="336" y="167"/>
                  </a:cubicBezTo>
                  <a:cubicBezTo>
                    <a:pt x="336" y="75"/>
                    <a:pt x="261" y="0"/>
                    <a:pt x="1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9"/>
            <p:cNvSpPr>
              <a:spLocks noEditPoints="1"/>
            </p:cNvSpPr>
            <p:nvPr/>
          </p:nvSpPr>
          <p:spPr bwMode="auto">
            <a:xfrm>
              <a:off x="814388" y="4854575"/>
              <a:ext cx="506413" cy="484188"/>
            </a:xfrm>
            <a:custGeom>
              <a:avLst/>
              <a:gdLst>
                <a:gd name="T0" fmla="*/ 1367 w 8533"/>
                <a:gd name="T1" fmla="*/ 6167 h 8133"/>
                <a:gd name="T2" fmla="*/ 3100 w 8533"/>
                <a:gd name="T3" fmla="*/ 6346 h 8133"/>
                <a:gd name="T4" fmla="*/ 3549 w 8533"/>
                <a:gd name="T5" fmla="*/ 7800 h 8133"/>
                <a:gd name="T6" fmla="*/ 4777 w 8533"/>
                <a:gd name="T7" fmla="*/ 5547 h 8133"/>
                <a:gd name="T8" fmla="*/ 5536 w 8533"/>
                <a:gd name="T9" fmla="*/ 6203 h 8133"/>
                <a:gd name="T10" fmla="*/ 6458 w 8533"/>
                <a:gd name="T11" fmla="*/ 5520 h 8133"/>
                <a:gd name="T12" fmla="*/ 7417 w 8533"/>
                <a:gd name="T13" fmla="*/ 5812 h 8133"/>
                <a:gd name="T14" fmla="*/ 7222 w 8533"/>
                <a:gd name="T15" fmla="*/ 6627 h 8133"/>
                <a:gd name="T16" fmla="*/ 6888 w 8533"/>
                <a:gd name="T17" fmla="*/ 7800 h 8133"/>
                <a:gd name="T18" fmla="*/ 4244 w 8533"/>
                <a:gd name="T19" fmla="*/ 6461 h 8133"/>
                <a:gd name="T20" fmla="*/ 3883 w 8533"/>
                <a:gd name="T21" fmla="*/ 7800 h 8133"/>
                <a:gd name="T22" fmla="*/ 5234 w 8533"/>
                <a:gd name="T23" fmla="*/ 5019 h 8133"/>
                <a:gd name="T24" fmla="*/ 6224 w 8533"/>
                <a:gd name="T25" fmla="*/ 4930 h 8133"/>
                <a:gd name="T26" fmla="*/ 6223 w 8533"/>
                <a:gd name="T27" fmla="*/ 5160 h 8133"/>
                <a:gd name="T28" fmla="*/ 5653 w 8533"/>
                <a:gd name="T29" fmla="*/ 5850 h 8133"/>
                <a:gd name="T30" fmla="*/ 5234 w 8533"/>
                <a:gd name="T31" fmla="*/ 5019 h 8133"/>
                <a:gd name="T32" fmla="*/ 3953 w 8533"/>
                <a:gd name="T33" fmla="*/ 3178 h 8133"/>
                <a:gd name="T34" fmla="*/ 4119 w 8533"/>
                <a:gd name="T35" fmla="*/ 2508 h 8133"/>
                <a:gd name="T36" fmla="*/ 7182 w 8533"/>
                <a:gd name="T37" fmla="*/ 2393 h 8133"/>
                <a:gd name="T38" fmla="*/ 7604 w 8533"/>
                <a:gd name="T39" fmla="*/ 2922 h 8133"/>
                <a:gd name="T40" fmla="*/ 7182 w 8533"/>
                <a:gd name="T41" fmla="*/ 3654 h 8133"/>
                <a:gd name="T42" fmla="*/ 5889 w 8533"/>
                <a:gd name="T43" fmla="*/ 4738 h 8133"/>
                <a:gd name="T44" fmla="*/ 4387 w 8533"/>
                <a:gd name="T45" fmla="*/ 4151 h 8133"/>
                <a:gd name="T46" fmla="*/ 5612 w 8533"/>
                <a:gd name="T47" fmla="*/ 1342 h 8133"/>
                <a:gd name="T48" fmla="*/ 5652 w 8533"/>
                <a:gd name="T49" fmla="*/ 1911 h 8133"/>
                <a:gd name="T50" fmla="*/ 5651 w 8533"/>
                <a:gd name="T51" fmla="*/ 333 h 8133"/>
                <a:gd name="T52" fmla="*/ 5612 w 8533"/>
                <a:gd name="T53" fmla="*/ 1009 h 8133"/>
                <a:gd name="T54" fmla="*/ 5651 w 8533"/>
                <a:gd name="T55" fmla="*/ 333 h 8133"/>
                <a:gd name="T56" fmla="*/ 7750 w 8533"/>
                <a:gd name="T57" fmla="*/ 7800 h 8133"/>
                <a:gd name="T58" fmla="*/ 8200 w 8533"/>
                <a:gd name="T59" fmla="*/ 6346 h 8133"/>
                <a:gd name="T60" fmla="*/ 8002 w 8533"/>
                <a:gd name="T61" fmla="*/ 5638 h 8133"/>
                <a:gd name="T62" fmla="*/ 6557 w 8533"/>
                <a:gd name="T63" fmla="*/ 4756 h 8133"/>
                <a:gd name="T64" fmla="*/ 7091 w 8533"/>
                <a:gd name="T65" fmla="*/ 4432 h 8133"/>
                <a:gd name="T66" fmla="*/ 7515 w 8533"/>
                <a:gd name="T67" fmla="*/ 3488 h 8133"/>
                <a:gd name="T68" fmla="*/ 8029 w 8533"/>
                <a:gd name="T69" fmla="*/ 2629 h 8133"/>
                <a:gd name="T70" fmla="*/ 8222 w 8533"/>
                <a:gd name="T71" fmla="*/ 2376 h 8133"/>
                <a:gd name="T72" fmla="*/ 7343 w 8533"/>
                <a:gd name="T73" fmla="*/ 331 h 8133"/>
                <a:gd name="T74" fmla="*/ 3851 w 8533"/>
                <a:gd name="T75" fmla="*/ 487 h 8133"/>
                <a:gd name="T76" fmla="*/ 3086 w 8533"/>
                <a:gd name="T77" fmla="*/ 2574 h 8133"/>
                <a:gd name="T78" fmla="*/ 3363 w 8533"/>
                <a:gd name="T79" fmla="*/ 2922 h 8133"/>
                <a:gd name="T80" fmla="*/ 3787 w 8533"/>
                <a:gd name="T81" fmla="*/ 3673 h 8133"/>
                <a:gd name="T82" fmla="*/ 4748 w 8533"/>
                <a:gd name="T83" fmla="*/ 4742 h 8133"/>
                <a:gd name="T84" fmla="*/ 4745 w 8533"/>
                <a:gd name="T85" fmla="*/ 5119 h 8133"/>
                <a:gd name="T86" fmla="*/ 3298 w 8533"/>
                <a:gd name="T87" fmla="*/ 5638 h 8133"/>
                <a:gd name="T88" fmla="*/ 2767 w 8533"/>
                <a:gd name="T89" fmla="*/ 7800 h 8133"/>
                <a:gd name="T90" fmla="*/ 2017 w 8533"/>
                <a:gd name="T91" fmla="*/ 6167 h 8133"/>
                <a:gd name="T92" fmla="*/ 2433 w 8533"/>
                <a:gd name="T93" fmla="*/ 3133 h 8133"/>
                <a:gd name="T94" fmla="*/ 2017 w 8533"/>
                <a:gd name="T95" fmla="*/ 5833 h 8133"/>
                <a:gd name="T96" fmla="*/ 1679 w 8533"/>
                <a:gd name="T97" fmla="*/ 3117 h 8133"/>
                <a:gd name="T98" fmla="*/ 1090 w 8533"/>
                <a:gd name="T99" fmla="*/ 5833 h 8133"/>
                <a:gd name="T100" fmla="*/ 757 w 8533"/>
                <a:gd name="T101" fmla="*/ 3284 h 8133"/>
                <a:gd name="T102" fmla="*/ 333 w 8533"/>
                <a:gd name="T103" fmla="*/ 5583 h 8133"/>
                <a:gd name="T104" fmla="*/ 0 w 8533"/>
                <a:gd name="T105" fmla="*/ 3299 h 8133"/>
                <a:gd name="T106" fmla="*/ 900 w 8533"/>
                <a:gd name="T107" fmla="*/ 6167 h 8133"/>
                <a:gd name="T108" fmla="*/ 500 w 8533"/>
                <a:gd name="T109" fmla="*/ 7967 h 8133"/>
                <a:gd name="T110" fmla="*/ 8533 w 8533"/>
                <a:gd name="T111" fmla="*/ 7967 h 8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33" h="8133">
                  <a:moveTo>
                    <a:pt x="1233" y="7800"/>
                  </a:moveTo>
                  <a:lnTo>
                    <a:pt x="1233" y="6167"/>
                  </a:lnTo>
                  <a:lnTo>
                    <a:pt x="1367" y="6167"/>
                  </a:lnTo>
                  <a:lnTo>
                    <a:pt x="1367" y="7800"/>
                  </a:lnTo>
                  <a:lnTo>
                    <a:pt x="1233" y="7800"/>
                  </a:lnTo>
                  <a:close/>
                  <a:moveTo>
                    <a:pt x="3100" y="6346"/>
                  </a:moveTo>
                  <a:cubicBezTo>
                    <a:pt x="3100" y="6183"/>
                    <a:pt x="3227" y="6017"/>
                    <a:pt x="3396" y="5956"/>
                  </a:cubicBezTo>
                  <a:lnTo>
                    <a:pt x="3549" y="5911"/>
                  </a:lnTo>
                  <a:lnTo>
                    <a:pt x="3549" y="7800"/>
                  </a:lnTo>
                  <a:lnTo>
                    <a:pt x="3100" y="7800"/>
                  </a:lnTo>
                  <a:lnTo>
                    <a:pt x="3100" y="6346"/>
                  </a:lnTo>
                  <a:close/>
                  <a:moveTo>
                    <a:pt x="4777" y="5547"/>
                  </a:moveTo>
                  <a:cubicBezTo>
                    <a:pt x="4779" y="5546"/>
                    <a:pt x="4782" y="5546"/>
                    <a:pt x="4784" y="5545"/>
                  </a:cubicBezTo>
                  <a:cubicBezTo>
                    <a:pt x="4806" y="5537"/>
                    <a:pt x="4826" y="5528"/>
                    <a:pt x="4846" y="5518"/>
                  </a:cubicBezTo>
                  <a:lnTo>
                    <a:pt x="5536" y="6203"/>
                  </a:lnTo>
                  <a:cubicBezTo>
                    <a:pt x="5568" y="6236"/>
                    <a:pt x="5611" y="6252"/>
                    <a:pt x="5653" y="6252"/>
                  </a:cubicBezTo>
                  <a:cubicBezTo>
                    <a:pt x="5696" y="6252"/>
                    <a:pt x="5738" y="6236"/>
                    <a:pt x="5771" y="6203"/>
                  </a:cubicBezTo>
                  <a:lnTo>
                    <a:pt x="6458" y="5520"/>
                  </a:lnTo>
                  <a:cubicBezTo>
                    <a:pt x="6476" y="5529"/>
                    <a:pt x="6496" y="5538"/>
                    <a:pt x="6517" y="5545"/>
                  </a:cubicBezTo>
                  <a:cubicBezTo>
                    <a:pt x="6519" y="5546"/>
                    <a:pt x="6522" y="5546"/>
                    <a:pt x="6524" y="5547"/>
                  </a:cubicBezTo>
                  <a:lnTo>
                    <a:pt x="7417" y="5812"/>
                  </a:lnTo>
                  <a:lnTo>
                    <a:pt x="7417" y="7800"/>
                  </a:lnTo>
                  <a:lnTo>
                    <a:pt x="7222" y="7800"/>
                  </a:lnTo>
                  <a:lnTo>
                    <a:pt x="7222" y="6627"/>
                  </a:lnTo>
                  <a:cubicBezTo>
                    <a:pt x="7222" y="6535"/>
                    <a:pt x="7147" y="6461"/>
                    <a:pt x="7055" y="6461"/>
                  </a:cubicBezTo>
                  <a:cubicBezTo>
                    <a:pt x="6963" y="6461"/>
                    <a:pt x="6888" y="6535"/>
                    <a:pt x="6888" y="6627"/>
                  </a:cubicBezTo>
                  <a:lnTo>
                    <a:pt x="6888" y="7800"/>
                  </a:lnTo>
                  <a:lnTo>
                    <a:pt x="4411" y="7800"/>
                  </a:lnTo>
                  <a:lnTo>
                    <a:pt x="4411" y="6627"/>
                  </a:lnTo>
                  <a:cubicBezTo>
                    <a:pt x="4411" y="6535"/>
                    <a:pt x="4336" y="6461"/>
                    <a:pt x="4244" y="6461"/>
                  </a:cubicBezTo>
                  <a:cubicBezTo>
                    <a:pt x="4152" y="6461"/>
                    <a:pt x="4078" y="6535"/>
                    <a:pt x="4078" y="6627"/>
                  </a:cubicBezTo>
                  <a:lnTo>
                    <a:pt x="4078" y="7800"/>
                  </a:lnTo>
                  <a:lnTo>
                    <a:pt x="3883" y="7800"/>
                  </a:lnTo>
                  <a:lnTo>
                    <a:pt x="3883" y="5812"/>
                  </a:lnTo>
                  <a:lnTo>
                    <a:pt x="4777" y="5547"/>
                  </a:lnTo>
                  <a:close/>
                  <a:moveTo>
                    <a:pt x="5234" y="5019"/>
                  </a:moveTo>
                  <a:cubicBezTo>
                    <a:pt x="5363" y="5103"/>
                    <a:pt x="5507" y="5145"/>
                    <a:pt x="5651" y="5145"/>
                  </a:cubicBezTo>
                  <a:cubicBezTo>
                    <a:pt x="5795" y="5145"/>
                    <a:pt x="5939" y="5103"/>
                    <a:pt x="6068" y="5019"/>
                  </a:cubicBezTo>
                  <a:lnTo>
                    <a:pt x="6224" y="4930"/>
                  </a:lnTo>
                  <a:lnTo>
                    <a:pt x="6224" y="5107"/>
                  </a:lnTo>
                  <a:cubicBezTo>
                    <a:pt x="6223" y="5111"/>
                    <a:pt x="6223" y="5115"/>
                    <a:pt x="6223" y="5119"/>
                  </a:cubicBezTo>
                  <a:lnTo>
                    <a:pt x="6223" y="5160"/>
                  </a:lnTo>
                  <a:cubicBezTo>
                    <a:pt x="6223" y="5165"/>
                    <a:pt x="6223" y="5169"/>
                    <a:pt x="6224" y="5174"/>
                  </a:cubicBezTo>
                  <a:lnTo>
                    <a:pt x="6224" y="5282"/>
                  </a:lnTo>
                  <a:lnTo>
                    <a:pt x="5653" y="5850"/>
                  </a:lnTo>
                  <a:lnTo>
                    <a:pt x="5081" y="5282"/>
                  </a:lnTo>
                  <a:lnTo>
                    <a:pt x="5081" y="4932"/>
                  </a:lnTo>
                  <a:lnTo>
                    <a:pt x="5234" y="5019"/>
                  </a:lnTo>
                  <a:close/>
                  <a:moveTo>
                    <a:pt x="4119" y="3654"/>
                  </a:moveTo>
                  <a:lnTo>
                    <a:pt x="4119" y="3345"/>
                  </a:lnTo>
                  <a:cubicBezTo>
                    <a:pt x="4119" y="3253"/>
                    <a:pt x="4045" y="3178"/>
                    <a:pt x="3953" y="3178"/>
                  </a:cubicBezTo>
                  <a:cubicBezTo>
                    <a:pt x="3812" y="3178"/>
                    <a:pt x="3697" y="3064"/>
                    <a:pt x="3697" y="2922"/>
                  </a:cubicBezTo>
                  <a:cubicBezTo>
                    <a:pt x="3697" y="2781"/>
                    <a:pt x="3812" y="2667"/>
                    <a:pt x="3953" y="2667"/>
                  </a:cubicBezTo>
                  <a:cubicBezTo>
                    <a:pt x="4042" y="2667"/>
                    <a:pt x="4115" y="2597"/>
                    <a:pt x="4119" y="2508"/>
                  </a:cubicBezTo>
                  <a:lnTo>
                    <a:pt x="4125" y="2393"/>
                  </a:lnTo>
                  <a:cubicBezTo>
                    <a:pt x="4604" y="2295"/>
                    <a:pt x="5120" y="2245"/>
                    <a:pt x="5652" y="2245"/>
                  </a:cubicBezTo>
                  <a:cubicBezTo>
                    <a:pt x="6186" y="2245"/>
                    <a:pt x="6702" y="2295"/>
                    <a:pt x="7182" y="2393"/>
                  </a:cubicBezTo>
                  <a:lnTo>
                    <a:pt x="7182" y="2500"/>
                  </a:lnTo>
                  <a:cubicBezTo>
                    <a:pt x="7182" y="2592"/>
                    <a:pt x="7257" y="2667"/>
                    <a:pt x="7349" y="2667"/>
                  </a:cubicBezTo>
                  <a:cubicBezTo>
                    <a:pt x="7490" y="2667"/>
                    <a:pt x="7604" y="2781"/>
                    <a:pt x="7604" y="2922"/>
                  </a:cubicBezTo>
                  <a:cubicBezTo>
                    <a:pt x="7604" y="3064"/>
                    <a:pt x="7490" y="3178"/>
                    <a:pt x="7349" y="3178"/>
                  </a:cubicBezTo>
                  <a:cubicBezTo>
                    <a:pt x="7257" y="3178"/>
                    <a:pt x="7182" y="3253"/>
                    <a:pt x="7182" y="3345"/>
                  </a:cubicBezTo>
                  <a:lnTo>
                    <a:pt x="7182" y="3654"/>
                  </a:lnTo>
                  <a:cubicBezTo>
                    <a:pt x="7164" y="3864"/>
                    <a:pt x="7063" y="4049"/>
                    <a:pt x="6911" y="4151"/>
                  </a:cubicBezTo>
                  <a:lnTo>
                    <a:pt x="5898" y="4733"/>
                  </a:lnTo>
                  <a:cubicBezTo>
                    <a:pt x="5895" y="4734"/>
                    <a:pt x="5892" y="4736"/>
                    <a:pt x="5889" y="4738"/>
                  </a:cubicBezTo>
                  <a:cubicBezTo>
                    <a:pt x="5740" y="4837"/>
                    <a:pt x="5562" y="4837"/>
                    <a:pt x="5413" y="4738"/>
                  </a:cubicBezTo>
                  <a:cubicBezTo>
                    <a:pt x="5410" y="4736"/>
                    <a:pt x="5407" y="4734"/>
                    <a:pt x="5404" y="4733"/>
                  </a:cubicBezTo>
                  <a:lnTo>
                    <a:pt x="4387" y="4151"/>
                  </a:lnTo>
                  <a:cubicBezTo>
                    <a:pt x="4237" y="4050"/>
                    <a:pt x="4137" y="3865"/>
                    <a:pt x="4119" y="3654"/>
                  </a:cubicBezTo>
                  <a:close/>
                  <a:moveTo>
                    <a:pt x="4120" y="1492"/>
                  </a:moveTo>
                  <a:cubicBezTo>
                    <a:pt x="4270" y="1452"/>
                    <a:pt x="4765" y="1342"/>
                    <a:pt x="5612" y="1342"/>
                  </a:cubicBezTo>
                  <a:cubicBezTo>
                    <a:pt x="6468" y="1342"/>
                    <a:pt x="7017" y="1455"/>
                    <a:pt x="7183" y="1495"/>
                  </a:cubicBezTo>
                  <a:lnTo>
                    <a:pt x="7661" y="2164"/>
                  </a:lnTo>
                  <a:cubicBezTo>
                    <a:pt x="7048" y="1998"/>
                    <a:pt x="6363" y="1911"/>
                    <a:pt x="5652" y="1911"/>
                  </a:cubicBezTo>
                  <a:cubicBezTo>
                    <a:pt x="4941" y="1911"/>
                    <a:pt x="4256" y="1998"/>
                    <a:pt x="3642" y="2164"/>
                  </a:cubicBezTo>
                  <a:lnTo>
                    <a:pt x="4120" y="1492"/>
                  </a:lnTo>
                  <a:close/>
                  <a:moveTo>
                    <a:pt x="5651" y="333"/>
                  </a:moveTo>
                  <a:cubicBezTo>
                    <a:pt x="6242" y="333"/>
                    <a:pt x="6871" y="523"/>
                    <a:pt x="7117" y="605"/>
                  </a:cubicBezTo>
                  <a:lnTo>
                    <a:pt x="7117" y="1139"/>
                  </a:lnTo>
                  <a:cubicBezTo>
                    <a:pt x="6850" y="1086"/>
                    <a:pt x="6338" y="1009"/>
                    <a:pt x="5612" y="1009"/>
                  </a:cubicBezTo>
                  <a:cubicBezTo>
                    <a:pt x="4908" y="1009"/>
                    <a:pt x="4437" y="1081"/>
                    <a:pt x="4184" y="1134"/>
                  </a:cubicBezTo>
                  <a:lnTo>
                    <a:pt x="4184" y="605"/>
                  </a:lnTo>
                  <a:cubicBezTo>
                    <a:pt x="4430" y="523"/>
                    <a:pt x="5058" y="333"/>
                    <a:pt x="5651" y="333"/>
                  </a:cubicBezTo>
                  <a:close/>
                  <a:moveTo>
                    <a:pt x="8200" y="6346"/>
                  </a:moveTo>
                  <a:lnTo>
                    <a:pt x="8200" y="7800"/>
                  </a:lnTo>
                  <a:lnTo>
                    <a:pt x="7750" y="7800"/>
                  </a:lnTo>
                  <a:lnTo>
                    <a:pt x="7750" y="5911"/>
                  </a:lnTo>
                  <a:lnTo>
                    <a:pt x="7904" y="5956"/>
                  </a:lnTo>
                  <a:cubicBezTo>
                    <a:pt x="8073" y="6017"/>
                    <a:pt x="8200" y="6183"/>
                    <a:pt x="8200" y="6346"/>
                  </a:cubicBezTo>
                  <a:close/>
                  <a:moveTo>
                    <a:pt x="8533" y="6346"/>
                  </a:moveTo>
                  <a:cubicBezTo>
                    <a:pt x="8533" y="6038"/>
                    <a:pt x="8318" y="5748"/>
                    <a:pt x="8010" y="5640"/>
                  </a:cubicBezTo>
                  <a:cubicBezTo>
                    <a:pt x="8007" y="5639"/>
                    <a:pt x="8005" y="5639"/>
                    <a:pt x="8002" y="5638"/>
                  </a:cubicBezTo>
                  <a:lnTo>
                    <a:pt x="6623" y="5229"/>
                  </a:lnTo>
                  <a:cubicBezTo>
                    <a:pt x="6586" y="5215"/>
                    <a:pt x="6560" y="5189"/>
                    <a:pt x="6557" y="5164"/>
                  </a:cubicBezTo>
                  <a:lnTo>
                    <a:pt x="6557" y="4756"/>
                  </a:lnTo>
                  <a:cubicBezTo>
                    <a:pt x="6557" y="4750"/>
                    <a:pt x="6557" y="4745"/>
                    <a:pt x="6556" y="4739"/>
                  </a:cubicBezTo>
                  <a:lnTo>
                    <a:pt x="7082" y="4438"/>
                  </a:lnTo>
                  <a:cubicBezTo>
                    <a:pt x="7085" y="4436"/>
                    <a:pt x="7088" y="4434"/>
                    <a:pt x="7091" y="4432"/>
                  </a:cubicBezTo>
                  <a:cubicBezTo>
                    <a:pt x="7332" y="4273"/>
                    <a:pt x="7491" y="3989"/>
                    <a:pt x="7515" y="3673"/>
                  </a:cubicBezTo>
                  <a:cubicBezTo>
                    <a:pt x="7515" y="3669"/>
                    <a:pt x="7515" y="3665"/>
                    <a:pt x="7515" y="3661"/>
                  </a:cubicBezTo>
                  <a:lnTo>
                    <a:pt x="7515" y="3488"/>
                  </a:lnTo>
                  <a:cubicBezTo>
                    <a:pt x="7759" y="3416"/>
                    <a:pt x="7938" y="3190"/>
                    <a:pt x="7938" y="2922"/>
                  </a:cubicBezTo>
                  <a:cubicBezTo>
                    <a:pt x="7938" y="2783"/>
                    <a:pt x="7889" y="2656"/>
                    <a:pt x="7809" y="2555"/>
                  </a:cubicBezTo>
                  <a:cubicBezTo>
                    <a:pt x="7883" y="2578"/>
                    <a:pt x="7957" y="2603"/>
                    <a:pt x="8029" y="2629"/>
                  </a:cubicBezTo>
                  <a:cubicBezTo>
                    <a:pt x="8048" y="2636"/>
                    <a:pt x="8067" y="2639"/>
                    <a:pt x="8086" y="2639"/>
                  </a:cubicBezTo>
                  <a:cubicBezTo>
                    <a:pt x="8137" y="2639"/>
                    <a:pt x="8187" y="2616"/>
                    <a:pt x="8219" y="2574"/>
                  </a:cubicBezTo>
                  <a:cubicBezTo>
                    <a:pt x="8263" y="2516"/>
                    <a:pt x="8264" y="2435"/>
                    <a:pt x="8222" y="2376"/>
                  </a:cubicBezTo>
                  <a:lnTo>
                    <a:pt x="7450" y="1295"/>
                  </a:lnTo>
                  <a:lnTo>
                    <a:pt x="7450" y="487"/>
                  </a:lnTo>
                  <a:cubicBezTo>
                    <a:pt x="7450" y="418"/>
                    <a:pt x="7408" y="356"/>
                    <a:pt x="7343" y="331"/>
                  </a:cubicBezTo>
                  <a:cubicBezTo>
                    <a:pt x="7308" y="318"/>
                    <a:pt x="6466" y="0"/>
                    <a:pt x="5651" y="0"/>
                  </a:cubicBezTo>
                  <a:cubicBezTo>
                    <a:pt x="4836" y="0"/>
                    <a:pt x="3993" y="318"/>
                    <a:pt x="3958" y="331"/>
                  </a:cubicBezTo>
                  <a:cubicBezTo>
                    <a:pt x="3893" y="356"/>
                    <a:pt x="3851" y="418"/>
                    <a:pt x="3851" y="487"/>
                  </a:cubicBezTo>
                  <a:lnTo>
                    <a:pt x="3851" y="1295"/>
                  </a:lnTo>
                  <a:lnTo>
                    <a:pt x="3083" y="2376"/>
                  </a:lnTo>
                  <a:cubicBezTo>
                    <a:pt x="3041" y="2436"/>
                    <a:pt x="3042" y="2516"/>
                    <a:pt x="3086" y="2574"/>
                  </a:cubicBezTo>
                  <a:cubicBezTo>
                    <a:pt x="3131" y="2632"/>
                    <a:pt x="3207" y="2654"/>
                    <a:pt x="3276" y="2629"/>
                  </a:cubicBezTo>
                  <a:cubicBezTo>
                    <a:pt x="3346" y="2604"/>
                    <a:pt x="3418" y="2580"/>
                    <a:pt x="3491" y="2556"/>
                  </a:cubicBezTo>
                  <a:cubicBezTo>
                    <a:pt x="3411" y="2657"/>
                    <a:pt x="3363" y="2784"/>
                    <a:pt x="3363" y="2922"/>
                  </a:cubicBezTo>
                  <a:cubicBezTo>
                    <a:pt x="3363" y="3190"/>
                    <a:pt x="3542" y="3416"/>
                    <a:pt x="3786" y="3488"/>
                  </a:cubicBezTo>
                  <a:lnTo>
                    <a:pt x="3786" y="3661"/>
                  </a:lnTo>
                  <a:cubicBezTo>
                    <a:pt x="3786" y="3665"/>
                    <a:pt x="3786" y="3669"/>
                    <a:pt x="3787" y="3673"/>
                  </a:cubicBezTo>
                  <a:cubicBezTo>
                    <a:pt x="3811" y="3991"/>
                    <a:pt x="3968" y="4274"/>
                    <a:pt x="4207" y="4432"/>
                  </a:cubicBezTo>
                  <a:cubicBezTo>
                    <a:pt x="4210" y="4434"/>
                    <a:pt x="4213" y="4436"/>
                    <a:pt x="4217" y="4438"/>
                  </a:cubicBezTo>
                  <a:lnTo>
                    <a:pt x="4748" y="4742"/>
                  </a:lnTo>
                  <a:cubicBezTo>
                    <a:pt x="4748" y="4746"/>
                    <a:pt x="4748" y="4751"/>
                    <a:pt x="4748" y="4756"/>
                  </a:cubicBezTo>
                  <a:lnTo>
                    <a:pt x="4748" y="5090"/>
                  </a:lnTo>
                  <a:cubicBezTo>
                    <a:pt x="4746" y="5100"/>
                    <a:pt x="4745" y="5109"/>
                    <a:pt x="4745" y="5119"/>
                  </a:cubicBezTo>
                  <a:lnTo>
                    <a:pt x="4745" y="5160"/>
                  </a:lnTo>
                  <a:cubicBezTo>
                    <a:pt x="4745" y="5186"/>
                    <a:pt x="4717" y="5214"/>
                    <a:pt x="4678" y="5229"/>
                  </a:cubicBezTo>
                  <a:lnTo>
                    <a:pt x="3298" y="5638"/>
                  </a:lnTo>
                  <a:cubicBezTo>
                    <a:pt x="3295" y="5639"/>
                    <a:pt x="3293" y="5639"/>
                    <a:pt x="3290" y="5640"/>
                  </a:cubicBezTo>
                  <a:cubicBezTo>
                    <a:pt x="2982" y="5748"/>
                    <a:pt x="2767" y="6038"/>
                    <a:pt x="2767" y="6346"/>
                  </a:cubicBezTo>
                  <a:lnTo>
                    <a:pt x="2767" y="7800"/>
                  </a:lnTo>
                  <a:lnTo>
                    <a:pt x="1700" y="7800"/>
                  </a:lnTo>
                  <a:lnTo>
                    <a:pt x="1700" y="6167"/>
                  </a:lnTo>
                  <a:lnTo>
                    <a:pt x="2017" y="6167"/>
                  </a:lnTo>
                  <a:cubicBezTo>
                    <a:pt x="2338" y="6167"/>
                    <a:pt x="2600" y="5905"/>
                    <a:pt x="2600" y="5583"/>
                  </a:cubicBezTo>
                  <a:lnTo>
                    <a:pt x="2600" y="3299"/>
                  </a:lnTo>
                  <a:cubicBezTo>
                    <a:pt x="2600" y="3207"/>
                    <a:pt x="2525" y="3133"/>
                    <a:pt x="2433" y="3133"/>
                  </a:cubicBezTo>
                  <a:cubicBezTo>
                    <a:pt x="2341" y="3133"/>
                    <a:pt x="2267" y="3207"/>
                    <a:pt x="2267" y="3299"/>
                  </a:cubicBezTo>
                  <a:lnTo>
                    <a:pt x="2267" y="5583"/>
                  </a:lnTo>
                  <a:cubicBezTo>
                    <a:pt x="2267" y="5721"/>
                    <a:pt x="2155" y="5833"/>
                    <a:pt x="2017" y="5833"/>
                  </a:cubicBezTo>
                  <a:lnTo>
                    <a:pt x="1845" y="5833"/>
                  </a:lnTo>
                  <a:lnTo>
                    <a:pt x="1845" y="3284"/>
                  </a:lnTo>
                  <a:cubicBezTo>
                    <a:pt x="1845" y="3192"/>
                    <a:pt x="1771" y="3117"/>
                    <a:pt x="1679" y="3117"/>
                  </a:cubicBezTo>
                  <a:cubicBezTo>
                    <a:pt x="1587" y="3117"/>
                    <a:pt x="1512" y="3192"/>
                    <a:pt x="1512" y="3284"/>
                  </a:cubicBezTo>
                  <a:lnTo>
                    <a:pt x="1512" y="5833"/>
                  </a:lnTo>
                  <a:lnTo>
                    <a:pt x="1090" y="5833"/>
                  </a:lnTo>
                  <a:lnTo>
                    <a:pt x="1090" y="3284"/>
                  </a:lnTo>
                  <a:cubicBezTo>
                    <a:pt x="1090" y="3192"/>
                    <a:pt x="1016" y="3117"/>
                    <a:pt x="924" y="3117"/>
                  </a:cubicBezTo>
                  <a:cubicBezTo>
                    <a:pt x="832" y="3117"/>
                    <a:pt x="757" y="3192"/>
                    <a:pt x="757" y="3284"/>
                  </a:cubicBezTo>
                  <a:lnTo>
                    <a:pt x="757" y="5833"/>
                  </a:lnTo>
                  <a:lnTo>
                    <a:pt x="583" y="5833"/>
                  </a:lnTo>
                  <a:cubicBezTo>
                    <a:pt x="445" y="5833"/>
                    <a:pt x="333" y="5721"/>
                    <a:pt x="333" y="5583"/>
                  </a:cubicBezTo>
                  <a:lnTo>
                    <a:pt x="333" y="3299"/>
                  </a:lnTo>
                  <a:cubicBezTo>
                    <a:pt x="333" y="3207"/>
                    <a:pt x="259" y="3133"/>
                    <a:pt x="167" y="3133"/>
                  </a:cubicBezTo>
                  <a:cubicBezTo>
                    <a:pt x="75" y="3133"/>
                    <a:pt x="0" y="3207"/>
                    <a:pt x="0" y="3299"/>
                  </a:cubicBezTo>
                  <a:lnTo>
                    <a:pt x="0" y="5583"/>
                  </a:lnTo>
                  <a:cubicBezTo>
                    <a:pt x="0" y="5905"/>
                    <a:pt x="262" y="6167"/>
                    <a:pt x="583" y="6167"/>
                  </a:cubicBezTo>
                  <a:lnTo>
                    <a:pt x="900" y="6167"/>
                  </a:lnTo>
                  <a:lnTo>
                    <a:pt x="900" y="7800"/>
                  </a:lnTo>
                  <a:lnTo>
                    <a:pt x="666" y="7800"/>
                  </a:lnTo>
                  <a:cubicBezTo>
                    <a:pt x="574" y="7800"/>
                    <a:pt x="500" y="7875"/>
                    <a:pt x="500" y="7967"/>
                  </a:cubicBezTo>
                  <a:cubicBezTo>
                    <a:pt x="500" y="8059"/>
                    <a:pt x="574" y="8133"/>
                    <a:pt x="666" y="8133"/>
                  </a:cubicBezTo>
                  <a:lnTo>
                    <a:pt x="8367" y="8133"/>
                  </a:lnTo>
                  <a:cubicBezTo>
                    <a:pt x="8459" y="8133"/>
                    <a:pt x="8533" y="8059"/>
                    <a:pt x="8533" y="7967"/>
                  </a:cubicBezTo>
                  <a:lnTo>
                    <a:pt x="8533" y="634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Oval 60"/>
            <p:cNvSpPr>
              <a:spLocks noChangeArrowheads="1"/>
            </p:cNvSpPr>
            <p:nvPr/>
          </p:nvSpPr>
          <p:spPr bwMode="auto">
            <a:xfrm>
              <a:off x="1179513" y="5018088"/>
              <a:ext cx="22225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Oval 61"/>
            <p:cNvSpPr>
              <a:spLocks noChangeArrowheads="1"/>
            </p:cNvSpPr>
            <p:nvPr/>
          </p:nvSpPr>
          <p:spPr bwMode="auto">
            <a:xfrm>
              <a:off x="1098551" y="5018088"/>
              <a:ext cx="22225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2"/>
            <p:cNvSpPr>
              <a:spLocks/>
            </p:cNvSpPr>
            <p:nvPr/>
          </p:nvSpPr>
          <p:spPr bwMode="auto">
            <a:xfrm>
              <a:off x="1057276" y="5208588"/>
              <a:ext cx="19050" cy="20638"/>
            </a:xfrm>
            <a:custGeom>
              <a:avLst/>
              <a:gdLst>
                <a:gd name="T0" fmla="*/ 166 w 333"/>
                <a:gd name="T1" fmla="*/ 336 h 336"/>
                <a:gd name="T2" fmla="*/ 333 w 333"/>
                <a:gd name="T3" fmla="*/ 169 h 336"/>
                <a:gd name="T4" fmla="*/ 333 w 333"/>
                <a:gd name="T5" fmla="*/ 167 h 336"/>
                <a:gd name="T6" fmla="*/ 166 w 333"/>
                <a:gd name="T7" fmla="*/ 0 h 336"/>
                <a:gd name="T8" fmla="*/ 0 w 333"/>
                <a:gd name="T9" fmla="*/ 167 h 336"/>
                <a:gd name="T10" fmla="*/ 0 w 333"/>
                <a:gd name="T11" fmla="*/ 169 h 336"/>
                <a:gd name="T12" fmla="*/ 166 w 333"/>
                <a:gd name="T13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336">
                  <a:moveTo>
                    <a:pt x="166" y="336"/>
                  </a:moveTo>
                  <a:cubicBezTo>
                    <a:pt x="258" y="336"/>
                    <a:pt x="333" y="262"/>
                    <a:pt x="333" y="169"/>
                  </a:cubicBezTo>
                  <a:lnTo>
                    <a:pt x="333" y="167"/>
                  </a:lnTo>
                  <a:cubicBezTo>
                    <a:pt x="333" y="75"/>
                    <a:pt x="258" y="0"/>
                    <a:pt x="166" y="0"/>
                  </a:cubicBezTo>
                  <a:cubicBezTo>
                    <a:pt x="74" y="0"/>
                    <a:pt x="0" y="75"/>
                    <a:pt x="0" y="167"/>
                  </a:cubicBezTo>
                  <a:lnTo>
                    <a:pt x="0" y="169"/>
                  </a:lnTo>
                  <a:cubicBezTo>
                    <a:pt x="0" y="262"/>
                    <a:pt x="74" y="336"/>
                    <a:pt x="166" y="3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3"/>
            <p:cNvSpPr>
              <a:spLocks/>
            </p:cNvSpPr>
            <p:nvPr/>
          </p:nvSpPr>
          <p:spPr bwMode="auto">
            <a:xfrm>
              <a:off x="1223963" y="5208588"/>
              <a:ext cx="19050" cy="20638"/>
            </a:xfrm>
            <a:custGeom>
              <a:avLst/>
              <a:gdLst>
                <a:gd name="T0" fmla="*/ 167 w 334"/>
                <a:gd name="T1" fmla="*/ 336 h 336"/>
                <a:gd name="T2" fmla="*/ 334 w 334"/>
                <a:gd name="T3" fmla="*/ 169 h 336"/>
                <a:gd name="T4" fmla="*/ 334 w 334"/>
                <a:gd name="T5" fmla="*/ 167 h 336"/>
                <a:gd name="T6" fmla="*/ 167 w 334"/>
                <a:gd name="T7" fmla="*/ 0 h 336"/>
                <a:gd name="T8" fmla="*/ 0 w 334"/>
                <a:gd name="T9" fmla="*/ 167 h 336"/>
                <a:gd name="T10" fmla="*/ 0 w 334"/>
                <a:gd name="T11" fmla="*/ 169 h 336"/>
                <a:gd name="T12" fmla="*/ 167 w 334"/>
                <a:gd name="T13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36">
                  <a:moveTo>
                    <a:pt x="167" y="336"/>
                  </a:moveTo>
                  <a:cubicBezTo>
                    <a:pt x="259" y="336"/>
                    <a:pt x="334" y="262"/>
                    <a:pt x="334" y="169"/>
                  </a:cubicBezTo>
                  <a:lnTo>
                    <a:pt x="334" y="167"/>
                  </a:lnTo>
                  <a:cubicBezTo>
                    <a:pt x="334" y="75"/>
                    <a:pt x="259" y="0"/>
                    <a:pt x="167" y="0"/>
                  </a:cubicBezTo>
                  <a:cubicBezTo>
                    <a:pt x="75" y="0"/>
                    <a:pt x="0" y="75"/>
                    <a:pt x="0" y="167"/>
                  </a:cubicBezTo>
                  <a:lnTo>
                    <a:pt x="0" y="169"/>
                  </a:lnTo>
                  <a:cubicBezTo>
                    <a:pt x="0" y="262"/>
                    <a:pt x="75" y="336"/>
                    <a:pt x="167" y="3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4"/>
            <p:cNvSpPr>
              <a:spLocks/>
            </p:cNvSpPr>
            <p:nvPr/>
          </p:nvSpPr>
          <p:spPr bwMode="auto">
            <a:xfrm>
              <a:off x="1128713" y="5070475"/>
              <a:ext cx="42863" cy="23813"/>
            </a:xfrm>
            <a:custGeom>
              <a:avLst/>
              <a:gdLst>
                <a:gd name="T0" fmla="*/ 625 w 704"/>
                <a:gd name="T1" fmla="*/ 312 h 395"/>
                <a:gd name="T2" fmla="*/ 644 w 704"/>
                <a:gd name="T3" fmla="*/ 77 h 395"/>
                <a:gd name="T4" fmla="*/ 419 w 704"/>
                <a:gd name="T5" fmla="*/ 50 h 395"/>
                <a:gd name="T6" fmla="*/ 351 w 704"/>
                <a:gd name="T7" fmla="*/ 62 h 395"/>
                <a:gd name="T8" fmla="*/ 285 w 704"/>
                <a:gd name="T9" fmla="*/ 51 h 395"/>
                <a:gd name="T10" fmla="*/ 60 w 704"/>
                <a:gd name="T11" fmla="*/ 75 h 395"/>
                <a:gd name="T12" fmla="*/ 76 w 704"/>
                <a:gd name="T13" fmla="*/ 311 h 395"/>
                <a:gd name="T14" fmla="*/ 351 w 704"/>
                <a:gd name="T15" fmla="*/ 395 h 395"/>
                <a:gd name="T16" fmla="*/ 625 w 704"/>
                <a:gd name="T17" fmla="*/ 31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4" h="395">
                  <a:moveTo>
                    <a:pt x="625" y="312"/>
                  </a:moveTo>
                  <a:cubicBezTo>
                    <a:pt x="695" y="253"/>
                    <a:pt x="704" y="147"/>
                    <a:pt x="644" y="77"/>
                  </a:cubicBezTo>
                  <a:cubicBezTo>
                    <a:pt x="587" y="10"/>
                    <a:pt x="489" y="0"/>
                    <a:pt x="419" y="50"/>
                  </a:cubicBezTo>
                  <a:cubicBezTo>
                    <a:pt x="414" y="53"/>
                    <a:pt x="392" y="62"/>
                    <a:pt x="351" y="62"/>
                  </a:cubicBezTo>
                  <a:cubicBezTo>
                    <a:pt x="311" y="62"/>
                    <a:pt x="290" y="54"/>
                    <a:pt x="285" y="51"/>
                  </a:cubicBezTo>
                  <a:cubicBezTo>
                    <a:pt x="216" y="0"/>
                    <a:pt x="118" y="10"/>
                    <a:pt x="60" y="75"/>
                  </a:cubicBezTo>
                  <a:cubicBezTo>
                    <a:pt x="0" y="145"/>
                    <a:pt x="7" y="250"/>
                    <a:pt x="76" y="311"/>
                  </a:cubicBezTo>
                  <a:cubicBezTo>
                    <a:pt x="98" y="330"/>
                    <a:pt x="185" y="395"/>
                    <a:pt x="351" y="395"/>
                  </a:cubicBezTo>
                  <a:cubicBezTo>
                    <a:pt x="515" y="395"/>
                    <a:pt x="602" y="332"/>
                    <a:pt x="625" y="3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295"/>
          <p:cNvGrpSpPr/>
          <p:nvPr/>
        </p:nvGrpSpPr>
        <p:grpSpPr>
          <a:xfrm>
            <a:off x="758267" y="2591848"/>
            <a:ext cx="513355" cy="505049"/>
            <a:chOff x="6886575" y="4418013"/>
            <a:chExt cx="784226" cy="771525"/>
          </a:xfrm>
          <a:solidFill>
            <a:schemeClr val="tx1"/>
          </a:solidFill>
        </p:grpSpPr>
        <p:sp>
          <p:nvSpPr>
            <p:cNvPr id="71" name="Freeform 170"/>
            <p:cNvSpPr>
              <a:spLocks noEditPoints="1"/>
            </p:cNvSpPr>
            <p:nvPr/>
          </p:nvSpPr>
          <p:spPr bwMode="auto">
            <a:xfrm>
              <a:off x="6886575" y="4745038"/>
              <a:ext cx="588963" cy="444500"/>
            </a:xfrm>
            <a:custGeom>
              <a:avLst/>
              <a:gdLst>
                <a:gd name="T0" fmla="*/ 3902 w 4582"/>
                <a:gd name="T1" fmla="*/ 1817 h 3451"/>
                <a:gd name="T2" fmla="*/ 3144 w 4582"/>
                <a:gd name="T3" fmla="*/ 2051 h 3451"/>
                <a:gd name="T4" fmla="*/ 3400 w 4582"/>
                <a:gd name="T5" fmla="*/ 1951 h 3451"/>
                <a:gd name="T6" fmla="*/ 3300 w 4582"/>
                <a:gd name="T7" fmla="*/ 1351 h 3451"/>
                <a:gd name="T8" fmla="*/ 2800 w 4582"/>
                <a:gd name="T9" fmla="*/ 951 h 3451"/>
                <a:gd name="T10" fmla="*/ 2603 w 4582"/>
                <a:gd name="T11" fmla="*/ 851 h 3451"/>
                <a:gd name="T12" fmla="*/ 3195 w 4582"/>
                <a:gd name="T13" fmla="*/ 559 h 3451"/>
                <a:gd name="T14" fmla="*/ 2919 w 4582"/>
                <a:gd name="T15" fmla="*/ 17 h 3451"/>
                <a:gd name="T16" fmla="*/ 1775 w 4582"/>
                <a:gd name="T17" fmla="*/ 379 h 3451"/>
                <a:gd name="T18" fmla="*/ 1819 w 4582"/>
                <a:gd name="T19" fmla="*/ 851 h 3451"/>
                <a:gd name="T20" fmla="*/ 1400 w 4582"/>
                <a:gd name="T21" fmla="*/ 951 h 3451"/>
                <a:gd name="T22" fmla="*/ 1403 w 4582"/>
                <a:gd name="T23" fmla="*/ 1467 h 3451"/>
                <a:gd name="T24" fmla="*/ 100 w 4582"/>
                <a:gd name="T25" fmla="*/ 1651 h 3451"/>
                <a:gd name="T26" fmla="*/ 0 w 4582"/>
                <a:gd name="T27" fmla="*/ 3351 h 3451"/>
                <a:gd name="T28" fmla="*/ 2876 w 4582"/>
                <a:gd name="T29" fmla="*/ 3451 h 3451"/>
                <a:gd name="T30" fmla="*/ 4367 w 4582"/>
                <a:gd name="T31" fmla="*/ 2532 h 3451"/>
                <a:gd name="T32" fmla="*/ 4188 w 4582"/>
                <a:gd name="T33" fmla="*/ 1758 h 3451"/>
                <a:gd name="T34" fmla="*/ 200 w 4582"/>
                <a:gd name="T35" fmla="*/ 3251 h 3451"/>
                <a:gd name="T36" fmla="*/ 600 w 4582"/>
                <a:gd name="T37" fmla="*/ 1851 h 3451"/>
                <a:gd name="T38" fmla="*/ 3200 w 4582"/>
                <a:gd name="T39" fmla="*/ 1551 h 3451"/>
                <a:gd name="T40" fmla="*/ 2200 w 4582"/>
                <a:gd name="T41" fmla="*/ 1851 h 3451"/>
                <a:gd name="T42" fmla="*/ 3200 w 4582"/>
                <a:gd name="T43" fmla="*/ 1551 h 3451"/>
                <a:gd name="T44" fmla="*/ 2975 w 4582"/>
                <a:gd name="T45" fmla="*/ 524 h 3451"/>
                <a:gd name="T46" fmla="*/ 1931 w 4582"/>
                <a:gd name="T47" fmla="*/ 540 h 3451"/>
                <a:gd name="T48" fmla="*/ 1600 w 4582"/>
                <a:gd name="T49" fmla="*/ 1051 h 3451"/>
                <a:gd name="T50" fmla="*/ 2600 w 4582"/>
                <a:gd name="T51" fmla="*/ 1351 h 3451"/>
                <a:gd name="T52" fmla="*/ 1600 w 4582"/>
                <a:gd name="T53" fmla="*/ 1051 h 3451"/>
                <a:gd name="T54" fmla="*/ 2000 w 4582"/>
                <a:gd name="T55" fmla="*/ 1717 h 3451"/>
                <a:gd name="T56" fmla="*/ 2000 w 4582"/>
                <a:gd name="T57" fmla="*/ 1551 h 3451"/>
                <a:gd name="T58" fmla="*/ 4254 w 4582"/>
                <a:gd name="T59" fmla="*/ 2368 h 3451"/>
                <a:gd name="T60" fmla="*/ 2876 w 4582"/>
                <a:gd name="T61" fmla="*/ 3251 h 3451"/>
                <a:gd name="T62" fmla="*/ 800 w 4582"/>
                <a:gd name="T63" fmla="*/ 1805 h 3451"/>
                <a:gd name="T64" fmla="*/ 2029 w 4582"/>
                <a:gd name="T65" fmla="*/ 2022 h 3451"/>
                <a:gd name="T66" fmla="*/ 2800 w 4582"/>
                <a:gd name="T67" fmla="*/ 2051 h 3451"/>
                <a:gd name="T68" fmla="*/ 2800 w 4582"/>
                <a:gd name="T69" fmla="*/ 2451 h 3451"/>
                <a:gd name="T70" fmla="*/ 1900 w 4582"/>
                <a:gd name="T71" fmla="*/ 2651 h 3451"/>
                <a:gd name="T72" fmla="*/ 2952 w 4582"/>
                <a:gd name="T73" fmla="*/ 2636 h 3451"/>
                <a:gd name="T74" fmla="*/ 4302 w 4582"/>
                <a:gd name="T75" fmla="*/ 2039 h 3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82" h="3451">
                  <a:moveTo>
                    <a:pt x="4188" y="1758"/>
                  </a:moveTo>
                  <a:cubicBezTo>
                    <a:pt x="4088" y="1744"/>
                    <a:pt x="3987" y="1765"/>
                    <a:pt x="3902" y="1817"/>
                  </a:cubicBezTo>
                  <a:lnTo>
                    <a:pt x="3200" y="2249"/>
                  </a:lnTo>
                  <a:cubicBezTo>
                    <a:pt x="3199" y="2179"/>
                    <a:pt x="3180" y="2111"/>
                    <a:pt x="3144" y="2051"/>
                  </a:cubicBezTo>
                  <a:lnTo>
                    <a:pt x="3300" y="2051"/>
                  </a:lnTo>
                  <a:cubicBezTo>
                    <a:pt x="3355" y="2051"/>
                    <a:pt x="3400" y="2006"/>
                    <a:pt x="3400" y="1951"/>
                  </a:cubicBezTo>
                  <a:lnTo>
                    <a:pt x="3400" y="1451"/>
                  </a:lnTo>
                  <a:cubicBezTo>
                    <a:pt x="3400" y="1396"/>
                    <a:pt x="3355" y="1351"/>
                    <a:pt x="3300" y="1351"/>
                  </a:cubicBezTo>
                  <a:lnTo>
                    <a:pt x="2800" y="1351"/>
                  </a:lnTo>
                  <a:lnTo>
                    <a:pt x="2800" y="951"/>
                  </a:lnTo>
                  <a:cubicBezTo>
                    <a:pt x="2800" y="896"/>
                    <a:pt x="2755" y="851"/>
                    <a:pt x="2700" y="851"/>
                  </a:cubicBezTo>
                  <a:lnTo>
                    <a:pt x="2603" y="851"/>
                  </a:lnTo>
                  <a:lnTo>
                    <a:pt x="3130" y="684"/>
                  </a:lnTo>
                  <a:cubicBezTo>
                    <a:pt x="3183" y="668"/>
                    <a:pt x="3212" y="611"/>
                    <a:pt x="3195" y="559"/>
                  </a:cubicBezTo>
                  <a:lnTo>
                    <a:pt x="3044" y="82"/>
                  </a:lnTo>
                  <a:cubicBezTo>
                    <a:pt x="3028" y="29"/>
                    <a:pt x="2972" y="0"/>
                    <a:pt x="2919" y="17"/>
                  </a:cubicBezTo>
                  <a:lnTo>
                    <a:pt x="2919" y="17"/>
                  </a:lnTo>
                  <a:lnTo>
                    <a:pt x="1775" y="379"/>
                  </a:lnTo>
                  <a:cubicBezTo>
                    <a:pt x="1722" y="396"/>
                    <a:pt x="1693" y="452"/>
                    <a:pt x="1710" y="504"/>
                  </a:cubicBezTo>
                  <a:lnTo>
                    <a:pt x="1819" y="851"/>
                  </a:lnTo>
                  <a:lnTo>
                    <a:pt x="1500" y="851"/>
                  </a:lnTo>
                  <a:cubicBezTo>
                    <a:pt x="1445" y="851"/>
                    <a:pt x="1400" y="896"/>
                    <a:pt x="1400" y="951"/>
                  </a:cubicBezTo>
                  <a:lnTo>
                    <a:pt x="1400" y="1451"/>
                  </a:lnTo>
                  <a:cubicBezTo>
                    <a:pt x="1401" y="1456"/>
                    <a:pt x="1402" y="1462"/>
                    <a:pt x="1403" y="1467"/>
                  </a:cubicBezTo>
                  <a:cubicBezTo>
                    <a:pt x="1145" y="1441"/>
                    <a:pt x="886" y="1506"/>
                    <a:pt x="671" y="1651"/>
                  </a:cubicBezTo>
                  <a:lnTo>
                    <a:pt x="100" y="1651"/>
                  </a:lnTo>
                  <a:cubicBezTo>
                    <a:pt x="45" y="1651"/>
                    <a:pt x="0" y="1696"/>
                    <a:pt x="0" y="1751"/>
                  </a:cubicBezTo>
                  <a:lnTo>
                    <a:pt x="0" y="3351"/>
                  </a:lnTo>
                  <a:cubicBezTo>
                    <a:pt x="0" y="3406"/>
                    <a:pt x="45" y="3451"/>
                    <a:pt x="100" y="3451"/>
                  </a:cubicBezTo>
                  <a:lnTo>
                    <a:pt x="2876" y="3451"/>
                  </a:lnTo>
                  <a:cubicBezTo>
                    <a:pt x="2977" y="3451"/>
                    <a:pt x="3076" y="3420"/>
                    <a:pt x="3159" y="3363"/>
                  </a:cubicBezTo>
                  <a:lnTo>
                    <a:pt x="4367" y="2532"/>
                  </a:lnTo>
                  <a:cubicBezTo>
                    <a:pt x="4465" y="2465"/>
                    <a:pt x="4530" y="2360"/>
                    <a:pt x="4547" y="2243"/>
                  </a:cubicBezTo>
                  <a:cubicBezTo>
                    <a:pt x="4582" y="2010"/>
                    <a:pt x="4421" y="1793"/>
                    <a:pt x="4188" y="1758"/>
                  </a:cubicBezTo>
                  <a:close/>
                  <a:moveTo>
                    <a:pt x="600" y="3251"/>
                  </a:moveTo>
                  <a:lnTo>
                    <a:pt x="200" y="3251"/>
                  </a:lnTo>
                  <a:lnTo>
                    <a:pt x="200" y="1851"/>
                  </a:lnTo>
                  <a:lnTo>
                    <a:pt x="600" y="1851"/>
                  </a:lnTo>
                  <a:lnTo>
                    <a:pt x="600" y="3251"/>
                  </a:lnTo>
                  <a:close/>
                  <a:moveTo>
                    <a:pt x="3200" y="1551"/>
                  </a:moveTo>
                  <a:lnTo>
                    <a:pt x="3200" y="1851"/>
                  </a:lnTo>
                  <a:lnTo>
                    <a:pt x="2200" y="1851"/>
                  </a:lnTo>
                  <a:lnTo>
                    <a:pt x="2200" y="1551"/>
                  </a:lnTo>
                  <a:lnTo>
                    <a:pt x="3200" y="1551"/>
                  </a:lnTo>
                  <a:close/>
                  <a:moveTo>
                    <a:pt x="2884" y="238"/>
                  </a:moveTo>
                  <a:lnTo>
                    <a:pt x="2975" y="524"/>
                  </a:lnTo>
                  <a:lnTo>
                    <a:pt x="2021" y="826"/>
                  </a:lnTo>
                  <a:lnTo>
                    <a:pt x="1931" y="540"/>
                  </a:lnTo>
                  <a:lnTo>
                    <a:pt x="2884" y="238"/>
                  </a:lnTo>
                  <a:close/>
                  <a:moveTo>
                    <a:pt x="1600" y="1051"/>
                  </a:moveTo>
                  <a:lnTo>
                    <a:pt x="2600" y="1051"/>
                  </a:lnTo>
                  <a:lnTo>
                    <a:pt x="2600" y="1351"/>
                  </a:lnTo>
                  <a:lnTo>
                    <a:pt x="1600" y="1351"/>
                  </a:lnTo>
                  <a:lnTo>
                    <a:pt x="1600" y="1051"/>
                  </a:lnTo>
                  <a:close/>
                  <a:moveTo>
                    <a:pt x="2000" y="1551"/>
                  </a:moveTo>
                  <a:lnTo>
                    <a:pt x="2000" y="1717"/>
                  </a:lnTo>
                  <a:cubicBezTo>
                    <a:pt x="1917" y="1649"/>
                    <a:pt x="1826" y="1593"/>
                    <a:pt x="1727" y="1551"/>
                  </a:cubicBezTo>
                  <a:lnTo>
                    <a:pt x="2000" y="1551"/>
                  </a:lnTo>
                  <a:close/>
                  <a:moveTo>
                    <a:pt x="4350" y="2214"/>
                  </a:moveTo>
                  <a:cubicBezTo>
                    <a:pt x="4341" y="2276"/>
                    <a:pt x="4306" y="2332"/>
                    <a:pt x="4254" y="2368"/>
                  </a:cubicBezTo>
                  <a:lnTo>
                    <a:pt x="3046" y="3198"/>
                  </a:lnTo>
                  <a:cubicBezTo>
                    <a:pt x="2996" y="3233"/>
                    <a:pt x="2936" y="3251"/>
                    <a:pt x="2876" y="3251"/>
                  </a:cubicBezTo>
                  <a:lnTo>
                    <a:pt x="800" y="3251"/>
                  </a:lnTo>
                  <a:lnTo>
                    <a:pt x="800" y="1805"/>
                  </a:lnTo>
                  <a:cubicBezTo>
                    <a:pt x="1161" y="1574"/>
                    <a:pt x="1635" y="1626"/>
                    <a:pt x="1938" y="1930"/>
                  </a:cubicBezTo>
                  <a:lnTo>
                    <a:pt x="2029" y="2022"/>
                  </a:lnTo>
                  <a:cubicBezTo>
                    <a:pt x="2048" y="2040"/>
                    <a:pt x="2073" y="2051"/>
                    <a:pt x="2100" y="2051"/>
                  </a:cubicBezTo>
                  <a:lnTo>
                    <a:pt x="2800" y="2051"/>
                  </a:lnTo>
                  <a:cubicBezTo>
                    <a:pt x="2910" y="2051"/>
                    <a:pt x="3000" y="2141"/>
                    <a:pt x="3000" y="2251"/>
                  </a:cubicBezTo>
                  <a:cubicBezTo>
                    <a:pt x="3000" y="2361"/>
                    <a:pt x="2910" y="2451"/>
                    <a:pt x="2800" y="2451"/>
                  </a:cubicBezTo>
                  <a:lnTo>
                    <a:pt x="1900" y="2451"/>
                  </a:lnTo>
                  <a:lnTo>
                    <a:pt x="1900" y="2651"/>
                  </a:lnTo>
                  <a:lnTo>
                    <a:pt x="2900" y="2651"/>
                  </a:lnTo>
                  <a:cubicBezTo>
                    <a:pt x="2918" y="2651"/>
                    <a:pt x="2937" y="2646"/>
                    <a:pt x="2952" y="2636"/>
                  </a:cubicBezTo>
                  <a:lnTo>
                    <a:pt x="4006" y="1987"/>
                  </a:lnTo>
                  <a:cubicBezTo>
                    <a:pt x="4104" y="1928"/>
                    <a:pt x="4231" y="1950"/>
                    <a:pt x="4302" y="2039"/>
                  </a:cubicBezTo>
                  <a:cubicBezTo>
                    <a:pt x="4342" y="2088"/>
                    <a:pt x="4359" y="2152"/>
                    <a:pt x="4350" y="2214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71"/>
            <p:cNvSpPr>
              <a:spLocks noEditPoints="1"/>
            </p:cNvSpPr>
            <p:nvPr/>
          </p:nvSpPr>
          <p:spPr bwMode="auto">
            <a:xfrm>
              <a:off x="7335838" y="4418013"/>
              <a:ext cx="334963" cy="706437"/>
            </a:xfrm>
            <a:custGeom>
              <a:avLst/>
              <a:gdLst>
                <a:gd name="T0" fmla="*/ 2600 w 2600"/>
                <a:gd name="T1" fmla="*/ 2200 h 5500"/>
                <a:gd name="T2" fmla="*/ 2100 w 2600"/>
                <a:gd name="T3" fmla="*/ 2100 h 5500"/>
                <a:gd name="T4" fmla="*/ 1400 w 2600"/>
                <a:gd name="T5" fmla="*/ 1900 h 5500"/>
                <a:gd name="T6" fmla="*/ 2600 w 2600"/>
                <a:gd name="T7" fmla="*/ 1000 h 5500"/>
                <a:gd name="T8" fmla="*/ 2100 w 2600"/>
                <a:gd name="T9" fmla="*/ 900 h 5500"/>
                <a:gd name="T10" fmla="*/ 1400 w 2600"/>
                <a:gd name="T11" fmla="*/ 800 h 5500"/>
                <a:gd name="T12" fmla="*/ 2200 w 2600"/>
                <a:gd name="T13" fmla="*/ 100 h 5500"/>
                <a:gd name="T14" fmla="*/ 1900 w 2600"/>
                <a:gd name="T15" fmla="*/ 0 h 5500"/>
                <a:gd name="T16" fmla="*/ 700 w 2600"/>
                <a:gd name="T17" fmla="*/ 0 h 5500"/>
                <a:gd name="T18" fmla="*/ 400 w 2600"/>
                <a:gd name="T19" fmla="*/ 100 h 5500"/>
                <a:gd name="T20" fmla="*/ 1200 w 2600"/>
                <a:gd name="T21" fmla="*/ 800 h 5500"/>
                <a:gd name="T22" fmla="*/ 500 w 2600"/>
                <a:gd name="T23" fmla="*/ 900 h 5500"/>
                <a:gd name="T24" fmla="*/ 0 w 2600"/>
                <a:gd name="T25" fmla="*/ 1000 h 5500"/>
                <a:gd name="T26" fmla="*/ 1200 w 2600"/>
                <a:gd name="T27" fmla="*/ 1900 h 5500"/>
                <a:gd name="T28" fmla="*/ 500 w 2600"/>
                <a:gd name="T29" fmla="*/ 2100 h 5500"/>
                <a:gd name="T30" fmla="*/ 0 w 2600"/>
                <a:gd name="T31" fmla="*/ 2200 h 5500"/>
                <a:gd name="T32" fmla="*/ 1200 w 2600"/>
                <a:gd name="T33" fmla="*/ 3100 h 5500"/>
                <a:gd name="T34" fmla="*/ 200 w 2600"/>
                <a:gd name="T35" fmla="*/ 3300 h 5500"/>
                <a:gd name="T36" fmla="*/ 101 w 2600"/>
                <a:gd name="T37" fmla="*/ 3415 h 5500"/>
                <a:gd name="T38" fmla="*/ 419 w 2600"/>
                <a:gd name="T39" fmla="*/ 4185 h 5500"/>
                <a:gd name="T40" fmla="*/ 2284 w 2600"/>
                <a:gd name="T41" fmla="*/ 3500 h 5500"/>
                <a:gd name="T42" fmla="*/ 800 w 2600"/>
                <a:gd name="T43" fmla="*/ 5300 h 5500"/>
                <a:gd name="T44" fmla="*/ 2100 w 2600"/>
                <a:gd name="T45" fmla="*/ 5500 h 5500"/>
                <a:gd name="T46" fmla="*/ 2499 w 2600"/>
                <a:gd name="T47" fmla="*/ 3415 h 5500"/>
                <a:gd name="T48" fmla="*/ 2400 w 2600"/>
                <a:gd name="T49" fmla="*/ 3300 h 5500"/>
                <a:gd name="T50" fmla="*/ 1400 w 2600"/>
                <a:gd name="T51" fmla="*/ 3100 h 5500"/>
                <a:gd name="T52" fmla="*/ 2100 w 2600"/>
                <a:gd name="T53" fmla="*/ 2300 h 5500"/>
                <a:gd name="T54" fmla="*/ 1700 w 2600"/>
                <a:gd name="T55" fmla="*/ 2900 h 5500"/>
                <a:gd name="T56" fmla="*/ 2100 w 2600"/>
                <a:gd name="T57" fmla="*/ 2300 h 5500"/>
                <a:gd name="T58" fmla="*/ 2393 w 2600"/>
                <a:gd name="T59" fmla="*/ 1100 h 5500"/>
                <a:gd name="T60" fmla="*/ 1407 w 2600"/>
                <a:gd name="T61" fmla="*/ 1700 h 5500"/>
                <a:gd name="T62" fmla="*/ 1900 w 2600"/>
                <a:gd name="T63" fmla="*/ 200 h 5500"/>
                <a:gd name="T64" fmla="*/ 1500 w 2600"/>
                <a:gd name="T65" fmla="*/ 600 h 5500"/>
                <a:gd name="T66" fmla="*/ 1900 w 2600"/>
                <a:gd name="T67" fmla="*/ 200 h 5500"/>
                <a:gd name="T68" fmla="*/ 610 w 2600"/>
                <a:gd name="T69" fmla="*/ 200 h 5500"/>
                <a:gd name="T70" fmla="*/ 1190 w 2600"/>
                <a:gd name="T71" fmla="*/ 600 h 5500"/>
                <a:gd name="T72" fmla="*/ 900 w 2600"/>
                <a:gd name="T73" fmla="*/ 1700 h 5500"/>
                <a:gd name="T74" fmla="*/ 500 w 2600"/>
                <a:gd name="T75" fmla="*/ 1100 h 5500"/>
                <a:gd name="T76" fmla="*/ 900 w 2600"/>
                <a:gd name="T77" fmla="*/ 1700 h 5500"/>
                <a:gd name="T78" fmla="*/ 207 w 2600"/>
                <a:gd name="T79" fmla="*/ 2300 h 5500"/>
                <a:gd name="T80" fmla="*/ 1193 w 2600"/>
                <a:gd name="T81" fmla="*/ 2900 h 5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00" h="5500">
                  <a:moveTo>
                    <a:pt x="1700" y="3100"/>
                  </a:moveTo>
                  <a:cubicBezTo>
                    <a:pt x="2197" y="3099"/>
                    <a:pt x="2599" y="2697"/>
                    <a:pt x="2600" y="2200"/>
                  </a:cubicBezTo>
                  <a:cubicBezTo>
                    <a:pt x="2600" y="2145"/>
                    <a:pt x="2555" y="2100"/>
                    <a:pt x="2500" y="2100"/>
                  </a:cubicBezTo>
                  <a:lnTo>
                    <a:pt x="2100" y="2100"/>
                  </a:lnTo>
                  <a:cubicBezTo>
                    <a:pt x="1828" y="2100"/>
                    <a:pt x="1571" y="2223"/>
                    <a:pt x="1400" y="2436"/>
                  </a:cubicBezTo>
                  <a:lnTo>
                    <a:pt x="1400" y="1900"/>
                  </a:lnTo>
                  <a:lnTo>
                    <a:pt x="1700" y="1900"/>
                  </a:lnTo>
                  <a:cubicBezTo>
                    <a:pt x="2197" y="1899"/>
                    <a:pt x="2599" y="1497"/>
                    <a:pt x="2600" y="1000"/>
                  </a:cubicBezTo>
                  <a:cubicBezTo>
                    <a:pt x="2600" y="945"/>
                    <a:pt x="2555" y="900"/>
                    <a:pt x="2500" y="900"/>
                  </a:cubicBezTo>
                  <a:lnTo>
                    <a:pt x="2100" y="900"/>
                  </a:lnTo>
                  <a:cubicBezTo>
                    <a:pt x="1828" y="900"/>
                    <a:pt x="1571" y="1023"/>
                    <a:pt x="1400" y="1236"/>
                  </a:cubicBezTo>
                  <a:lnTo>
                    <a:pt x="1400" y="800"/>
                  </a:lnTo>
                  <a:lnTo>
                    <a:pt x="1500" y="800"/>
                  </a:lnTo>
                  <a:cubicBezTo>
                    <a:pt x="1886" y="799"/>
                    <a:pt x="2200" y="486"/>
                    <a:pt x="2200" y="100"/>
                  </a:cubicBezTo>
                  <a:cubicBezTo>
                    <a:pt x="2200" y="45"/>
                    <a:pt x="2155" y="0"/>
                    <a:pt x="2100" y="0"/>
                  </a:cubicBezTo>
                  <a:lnTo>
                    <a:pt x="1900" y="0"/>
                  </a:lnTo>
                  <a:cubicBezTo>
                    <a:pt x="1654" y="0"/>
                    <a:pt x="1426" y="130"/>
                    <a:pt x="1300" y="341"/>
                  </a:cubicBezTo>
                  <a:cubicBezTo>
                    <a:pt x="1174" y="130"/>
                    <a:pt x="946" y="0"/>
                    <a:pt x="700" y="0"/>
                  </a:cubicBezTo>
                  <a:lnTo>
                    <a:pt x="500" y="0"/>
                  </a:lnTo>
                  <a:cubicBezTo>
                    <a:pt x="445" y="0"/>
                    <a:pt x="400" y="45"/>
                    <a:pt x="400" y="100"/>
                  </a:cubicBezTo>
                  <a:cubicBezTo>
                    <a:pt x="401" y="486"/>
                    <a:pt x="714" y="800"/>
                    <a:pt x="1100" y="800"/>
                  </a:cubicBezTo>
                  <a:lnTo>
                    <a:pt x="1200" y="800"/>
                  </a:lnTo>
                  <a:lnTo>
                    <a:pt x="1200" y="1236"/>
                  </a:lnTo>
                  <a:cubicBezTo>
                    <a:pt x="1030" y="1023"/>
                    <a:pt x="772" y="900"/>
                    <a:pt x="500" y="900"/>
                  </a:cubicBezTo>
                  <a:lnTo>
                    <a:pt x="100" y="900"/>
                  </a:lnTo>
                  <a:cubicBezTo>
                    <a:pt x="45" y="900"/>
                    <a:pt x="0" y="945"/>
                    <a:pt x="0" y="1000"/>
                  </a:cubicBezTo>
                  <a:cubicBezTo>
                    <a:pt x="1" y="1497"/>
                    <a:pt x="403" y="1899"/>
                    <a:pt x="900" y="1900"/>
                  </a:cubicBezTo>
                  <a:lnTo>
                    <a:pt x="1200" y="1900"/>
                  </a:lnTo>
                  <a:lnTo>
                    <a:pt x="1200" y="2436"/>
                  </a:lnTo>
                  <a:cubicBezTo>
                    <a:pt x="1030" y="2223"/>
                    <a:pt x="772" y="2100"/>
                    <a:pt x="500" y="2100"/>
                  </a:cubicBezTo>
                  <a:lnTo>
                    <a:pt x="100" y="2100"/>
                  </a:lnTo>
                  <a:cubicBezTo>
                    <a:pt x="45" y="2100"/>
                    <a:pt x="0" y="2145"/>
                    <a:pt x="0" y="2200"/>
                  </a:cubicBezTo>
                  <a:cubicBezTo>
                    <a:pt x="1" y="2697"/>
                    <a:pt x="403" y="3099"/>
                    <a:pt x="900" y="3100"/>
                  </a:cubicBezTo>
                  <a:lnTo>
                    <a:pt x="1200" y="3100"/>
                  </a:lnTo>
                  <a:lnTo>
                    <a:pt x="1200" y="3300"/>
                  </a:lnTo>
                  <a:lnTo>
                    <a:pt x="200" y="3300"/>
                  </a:lnTo>
                  <a:cubicBezTo>
                    <a:pt x="145" y="3300"/>
                    <a:pt x="100" y="3345"/>
                    <a:pt x="100" y="3400"/>
                  </a:cubicBezTo>
                  <a:cubicBezTo>
                    <a:pt x="100" y="3405"/>
                    <a:pt x="100" y="3410"/>
                    <a:pt x="101" y="3415"/>
                  </a:cubicBezTo>
                  <a:lnTo>
                    <a:pt x="221" y="4215"/>
                  </a:lnTo>
                  <a:lnTo>
                    <a:pt x="419" y="4185"/>
                  </a:lnTo>
                  <a:lnTo>
                    <a:pt x="316" y="3500"/>
                  </a:lnTo>
                  <a:lnTo>
                    <a:pt x="2284" y="3500"/>
                  </a:lnTo>
                  <a:lnTo>
                    <a:pt x="2014" y="5300"/>
                  </a:lnTo>
                  <a:lnTo>
                    <a:pt x="800" y="5300"/>
                  </a:lnTo>
                  <a:lnTo>
                    <a:pt x="800" y="5500"/>
                  </a:lnTo>
                  <a:lnTo>
                    <a:pt x="2100" y="5500"/>
                  </a:lnTo>
                  <a:cubicBezTo>
                    <a:pt x="2150" y="5500"/>
                    <a:pt x="2192" y="5464"/>
                    <a:pt x="2199" y="5415"/>
                  </a:cubicBezTo>
                  <a:lnTo>
                    <a:pt x="2499" y="3415"/>
                  </a:lnTo>
                  <a:cubicBezTo>
                    <a:pt x="2507" y="3360"/>
                    <a:pt x="2469" y="3309"/>
                    <a:pt x="2415" y="3301"/>
                  </a:cubicBezTo>
                  <a:cubicBezTo>
                    <a:pt x="2410" y="3300"/>
                    <a:pt x="2405" y="3300"/>
                    <a:pt x="2400" y="3300"/>
                  </a:cubicBezTo>
                  <a:lnTo>
                    <a:pt x="1400" y="3300"/>
                  </a:lnTo>
                  <a:lnTo>
                    <a:pt x="1400" y="3100"/>
                  </a:lnTo>
                  <a:lnTo>
                    <a:pt x="1700" y="3100"/>
                  </a:lnTo>
                  <a:close/>
                  <a:moveTo>
                    <a:pt x="2100" y="2300"/>
                  </a:moveTo>
                  <a:lnTo>
                    <a:pt x="2393" y="2300"/>
                  </a:lnTo>
                  <a:cubicBezTo>
                    <a:pt x="2343" y="2644"/>
                    <a:pt x="2048" y="2900"/>
                    <a:pt x="1700" y="2900"/>
                  </a:cubicBezTo>
                  <a:lnTo>
                    <a:pt x="1407" y="2900"/>
                  </a:lnTo>
                  <a:cubicBezTo>
                    <a:pt x="1457" y="2556"/>
                    <a:pt x="1752" y="2300"/>
                    <a:pt x="2100" y="2300"/>
                  </a:cubicBezTo>
                  <a:close/>
                  <a:moveTo>
                    <a:pt x="2100" y="1100"/>
                  </a:moveTo>
                  <a:lnTo>
                    <a:pt x="2393" y="1100"/>
                  </a:lnTo>
                  <a:cubicBezTo>
                    <a:pt x="2343" y="1444"/>
                    <a:pt x="2048" y="1700"/>
                    <a:pt x="1700" y="1700"/>
                  </a:cubicBezTo>
                  <a:lnTo>
                    <a:pt x="1407" y="1700"/>
                  </a:lnTo>
                  <a:cubicBezTo>
                    <a:pt x="1457" y="1356"/>
                    <a:pt x="1752" y="1100"/>
                    <a:pt x="2100" y="1100"/>
                  </a:cubicBezTo>
                  <a:close/>
                  <a:moveTo>
                    <a:pt x="1900" y="200"/>
                  </a:moveTo>
                  <a:lnTo>
                    <a:pt x="1990" y="200"/>
                  </a:lnTo>
                  <a:cubicBezTo>
                    <a:pt x="1942" y="433"/>
                    <a:pt x="1738" y="600"/>
                    <a:pt x="1500" y="600"/>
                  </a:cubicBezTo>
                  <a:lnTo>
                    <a:pt x="1410" y="600"/>
                  </a:lnTo>
                  <a:cubicBezTo>
                    <a:pt x="1458" y="367"/>
                    <a:pt x="1662" y="200"/>
                    <a:pt x="1900" y="200"/>
                  </a:cubicBezTo>
                  <a:close/>
                  <a:moveTo>
                    <a:pt x="1100" y="600"/>
                  </a:moveTo>
                  <a:cubicBezTo>
                    <a:pt x="862" y="600"/>
                    <a:pt x="658" y="433"/>
                    <a:pt x="610" y="200"/>
                  </a:cubicBezTo>
                  <a:lnTo>
                    <a:pt x="700" y="200"/>
                  </a:lnTo>
                  <a:cubicBezTo>
                    <a:pt x="938" y="200"/>
                    <a:pt x="1142" y="367"/>
                    <a:pt x="1190" y="600"/>
                  </a:cubicBezTo>
                  <a:lnTo>
                    <a:pt x="1100" y="600"/>
                  </a:lnTo>
                  <a:close/>
                  <a:moveTo>
                    <a:pt x="900" y="1700"/>
                  </a:moveTo>
                  <a:cubicBezTo>
                    <a:pt x="552" y="1700"/>
                    <a:pt x="257" y="1444"/>
                    <a:pt x="207" y="1100"/>
                  </a:cubicBezTo>
                  <a:lnTo>
                    <a:pt x="500" y="1100"/>
                  </a:lnTo>
                  <a:cubicBezTo>
                    <a:pt x="848" y="1100"/>
                    <a:pt x="1143" y="1356"/>
                    <a:pt x="1193" y="1700"/>
                  </a:cubicBezTo>
                  <a:lnTo>
                    <a:pt x="900" y="1700"/>
                  </a:lnTo>
                  <a:close/>
                  <a:moveTo>
                    <a:pt x="900" y="2900"/>
                  </a:moveTo>
                  <a:cubicBezTo>
                    <a:pt x="552" y="2900"/>
                    <a:pt x="257" y="2644"/>
                    <a:pt x="207" y="2300"/>
                  </a:cubicBezTo>
                  <a:lnTo>
                    <a:pt x="500" y="2300"/>
                  </a:lnTo>
                  <a:cubicBezTo>
                    <a:pt x="848" y="2300"/>
                    <a:pt x="1143" y="2556"/>
                    <a:pt x="1193" y="2900"/>
                  </a:cubicBezTo>
                  <a:lnTo>
                    <a:pt x="900" y="2900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72"/>
            <p:cNvSpPr>
              <a:spLocks noEditPoints="1"/>
            </p:cNvSpPr>
            <p:nvPr/>
          </p:nvSpPr>
          <p:spPr bwMode="auto">
            <a:xfrm>
              <a:off x="6962775" y="4660900"/>
              <a:ext cx="130175" cy="130175"/>
            </a:xfrm>
            <a:custGeom>
              <a:avLst/>
              <a:gdLst>
                <a:gd name="T0" fmla="*/ 1006 w 1016"/>
                <a:gd name="T1" fmla="*/ 491 h 1016"/>
                <a:gd name="T2" fmla="*/ 924 w 1016"/>
                <a:gd name="T3" fmla="*/ 409 h 1016"/>
                <a:gd name="T4" fmla="*/ 607 w 1016"/>
                <a:gd name="T5" fmla="*/ 92 h 1016"/>
                <a:gd name="T6" fmla="*/ 491 w 1016"/>
                <a:gd name="T7" fmla="*/ 10 h 1016"/>
                <a:gd name="T8" fmla="*/ 409 w 1016"/>
                <a:gd name="T9" fmla="*/ 92 h 1016"/>
                <a:gd name="T10" fmla="*/ 92 w 1016"/>
                <a:gd name="T11" fmla="*/ 409 h 1016"/>
                <a:gd name="T12" fmla="*/ 10 w 1016"/>
                <a:gd name="T13" fmla="*/ 525 h 1016"/>
                <a:gd name="T14" fmla="*/ 92 w 1016"/>
                <a:gd name="T15" fmla="*/ 607 h 1016"/>
                <a:gd name="T16" fmla="*/ 409 w 1016"/>
                <a:gd name="T17" fmla="*/ 924 h 1016"/>
                <a:gd name="T18" fmla="*/ 525 w 1016"/>
                <a:gd name="T19" fmla="*/ 1006 h 1016"/>
                <a:gd name="T20" fmla="*/ 607 w 1016"/>
                <a:gd name="T21" fmla="*/ 924 h 1016"/>
                <a:gd name="T22" fmla="*/ 924 w 1016"/>
                <a:gd name="T23" fmla="*/ 607 h 1016"/>
                <a:gd name="T24" fmla="*/ 1006 w 1016"/>
                <a:gd name="T25" fmla="*/ 491 h 1016"/>
                <a:gd name="T26" fmla="*/ 508 w 1016"/>
                <a:gd name="T27" fmla="*/ 651 h 1016"/>
                <a:gd name="T28" fmla="*/ 365 w 1016"/>
                <a:gd name="T29" fmla="*/ 508 h 1016"/>
                <a:gd name="T30" fmla="*/ 508 w 1016"/>
                <a:gd name="T31" fmla="*/ 365 h 1016"/>
                <a:gd name="T32" fmla="*/ 651 w 1016"/>
                <a:gd name="T33" fmla="*/ 508 h 1016"/>
                <a:gd name="T34" fmla="*/ 508 w 1016"/>
                <a:gd name="T35" fmla="*/ 651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16" h="1016">
                  <a:moveTo>
                    <a:pt x="1006" y="491"/>
                  </a:moveTo>
                  <a:cubicBezTo>
                    <a:pt x="999" y="449"/>
                    <a:pt x="966" y="417"/>
                    <a:pt x="924" y="409"/>
                  </a:cubicBezTo>
                  <a:cubicBezTo>
                    <a:pt x="761" y="382"/>
                    <a:pt x="634" y="255"/>
                    <a:pt x="607" y="92"/>
                  </a:cubicBezTo>
                  <a:cubicBezTo>
                    <a:pt x="597" y="37"/>
                    <a:pt x="546" y="0"/>
                    <a:pt x="491" y="10"/>
                  </a:cubicBezTo>
                  <a:cubicBezTo>
                    <a:pt x="449" y="17"/>
                    <a:pt x="417" y="50"/>
                    <a:pt x="409" y="92"/>
                  </a:cubicBezTo>
                  <a:cubicBezTo>
                    <a:pt x="382" y="255"/>
                    <a:pt x="255" y="382"/>
                    <a:pt x="92" y="409"/>
                  </a:cubicBezTo>
                  <a:cubicBezTo>
                    <a:pt x="37" y="419"/>
                    <a:pt x="0" y="470"/>
                    <a:pt x="10" y="525"/>
                  </a:cubicBezTo>
                  <a:cubicBezTo>
                    <a:pt x="17" y="567"/>
                    <a:pt x="50" y="600"/>
                    <a:pt x="92" y="607"/>
                  </a:cubicBezTo>
                  <a:cubicBezTo>
                    <a:pt x="255" y="634"/>
                    <a:pt x="382" y="761"/>
                    <a:pt x="409" y="924"/>
                  </a:cubicBezTo>
                  <a:cubicBezTo>
                    <a:pt x="419" y="979"/>
                    <a:pt x="470" y="1016"/>
                    <a:pt x="525" y="1006"/>
                  </a:cubicBezTo>
                  <a:cubicBezTo>
                    <a:pt x="567" y="999"/>
                    <a:pt x="600" y="966"/>
                    <a:pt x="607" y="924"/>
                  </a:cubicBezTo>
                  <a:cubicBezTo>
                    <a:pt x="634" y="761"/>
                    <a:pt x="761" y="634"/>
                    <a:pt x="924" y="607"/>
                  </a:cubicBezTo>
                  <a:cubicBezTo>
                    <a:pt x="979" y="597"/>
                    <a:pt x="1016" y="546"/>
                    <a:pt x="1006" y="491"/>
                  </a:cubicBezTo>
                  <a:close/>
                  <a:moveTo>
                    <a:pt x="508" y="651"/>
                  </a:moveTo>
                  <a:cubicBezTo>
                    <a:pt x="469" y="595"/>
                    <a:pt x="421" y="547"/>
                    <a:pt x="365" y="508"/>
                  </a:cubicBezTo>
                  <a:cubicBezTo>
                    <a:pt x="421" y="469"/>
                    <a:pt x="469" y="421"/>
                    <a:pt x="508" y="365"/>
                  </a:cubicBezTo>
                  <a:cubicBezTo>
                    <a:pt x="547" y="421"/>
                    <a:pt x="595" y="469"/>
                    <a:pt x="651" y="508"/>
                  </a:cubicBezTo>
                  <a:cubicBezTo>
                    <a:pt x="595" y="547"/>
                    <a:pt x="547" y="595"/>
                    <a:pt x="508" y="651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73"/>
            <p:cNvSpPr>
              <a:spLocks noEditPoints="1"/>
            </p:cNvSpPr>
            <p:nvPr/>
          </p:nvSpPr>
          <p:spPr bwMode="auto">
            <a:xfrm>
              <a:off x="7091363" y="4443413"/>
              <a:ext cx="206375" cy="206375"/>
            </a:xfrm>
            <a:custGeom>
              <a:avLst/>
              <a:gdLst>
                <a:gd name="T0" fmla="*/ 800 w 1600"/>
                <a:gd name="T1" fmla="*/ 0 h 1600"/>
                <a:gd name="T2" fmla="*/ 0 w 1600"/>
                <a:gd name="T3" fmla="*/ 800 h 1600"/>
                <a:gd name="T4" fmla="*/ 800 w 1600"/>
                <a:gd name="T5" fmla="*/ 1600 h 1600"/>
                <a:gd name="T6" fmla="*/ 1600 w 1600"/>
                <a:gd name="T7" fmla="*/ 800 h 1600"/>
                <a:gd name="T8" fmla="*/ 800 w 1600"/>
                <a:gd name="T9" fmla="*/ 0 h 1600"/>
                <a:gd name="T10" fmla="*/ 800 w 1600"/>
                <a:gd name="T11" fmla="*/ 1400 h 1600"/>
                <a:gd name="T12" fmla="*/ 200 w 1600"/>
                <a:gd name="T13" fmla="*/ 800 h 1600"/>
                <a:gd name="T14" fmla="*/ 800 w 1600"/>
                <a:gd name="T15" fmla="*/ 200 h 1600"/>
                <a:gd name="T16" fmla="*/ 1400 w 1600"/>
                <a:gd name="T17" fmla="*/ 800 h 1600"/>
                <a:gd name="T18" fmla="*/ 800 w 1600"/>
                <a:gd name="T19" fmla="*/ 1400 h 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0" h="1600">
                  <a:moveTo>
                    <a:pt x="800" y="0"/>
                  </a:moveTo>
                  <a:cubicBezTo>
                    <a:pt x="358" y="0"/>
                    <a:pt x="0" y="358"/>
                    <a:pt x="0" y="800"/>
                  </a:cubicBezTo>
                  <a:cubicBezTo>
                    <a:pt x="1" y="1242"/>
                    <a:pt x="358" y="1600"/>
                    <a:pt x="800" y="1600"/>
                  </a:cubicBezTo>
                  <a:cubicBezTo>
                    <a:pt x="1242" y="1600"/>
                    <a:pt x="1600" y="1242"/>
                    <a:pt x="1600" y="800"/>
                  </a:cubicBezTo>
                  <a:cubicBezTo>
                    <a:pt x="1600" y="358"/>
                    <a:pt x="1242" y="0"/>
                    <a:pt x="800" y="0"/>
                  </a:cubicBezTo>
                  <a:close/>
                  <a:moveTo>
                    <a:pt x="800" y="1400"/>
                  </a:moveTo>
                  <a:cubicBezTo>
                    <a:pt x="469" y="1400"/>
                    <a:pt x="200" y="1131"/>
                    <a:pt x="200" y="800"/>
                  </a:cubicBezTo>
                  <a:cubicBezTo>
                    <a:pt x="200" y="469"/>
                    <a:pt x="469" y="200"/>
                    <a:pt x="800" y="200"/>
                  </a:cubicBezTo>
                  <a:cubicBezTo>
                    <a:pt x="1131" y="200"/>
                    <a:pt x="1400" y="469"/>
                    <a:pt x="1400" y="800"/>
                  </a:cubicBezTo>
                  <a:cubicBezTo>
                    <a:pt x="1400" y="1131"/>
                    <a:pt x="1131" y="1400"/>
                    <a:pt x="800" y="140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174"/>
            <p:cNvSpPr>
              <a:spLocks/>
            </p:cNvSpPr>
            <p:nvPr/>
          </p:nvSpPr>
          <p:spPr bwMode="auto">
            <a:xfrm>
              <a:off x="7143750" y="4495800"/>
              <a:ext cx="50800" cy="50800"/>
            </a:xfrm>
            <a:custGeom>
              <a:avLst/>
              <a:gdLst>
                <a:gd name="T0" fmla="*/ 0 w 400"/>
                <a:gd name="T1" fmla="*/ 400 h 400"/>
                <a:gd name="T2" fmla="*/ 200 w 400"/>
                <a:gd name="T3" fmla="*/ 400 h 400"/>
                <a:gd name="T4" fmla="*/ 400 w 400"/>
                <a:gd name="T5" fmla="*/ 200 h 400"/>
                <a:gd name="T6" fmla="*/ 400 w 400"/>
                <a:gd name="T7" fmla="*/ 0 h 400"/>
                <a:gd name="T8" fmla="*/ 0 w 400"/>
                <a:gd name="T9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400">
                  <a:moveTo>
                    <a:pt x="0" y="400"/>
                  </a:moveTo>
                  <a:lnTo>
                    <a:pt x="200" y="400"/>
                  </a:lnTo>
                  <a:cubicBezTo>
                    <a:pt x="200" y="290"/>
                    <a:pt x="290" y="200"/>
                    <a:pt x="400" y="200"/>
                  </a:cubicBezTo>
                  <a:lnTo>
                    <a:pt x="400" y="0"/>
                  </a:lnTo>
                  <a:cubicBezTo>
                    <a:pt x="179" y="0"/>
                    <a:pt x="0" y="179"/>
                    <a:pt x="0" y="40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75"/>
            <p:cNvSpPr>
              <a:spLocks/>
            </p:cNvSpPr>
            <p:nvPr/>
          </p:nvSpPr>
          <p:spPr bwMode="auto">
            <a:xfrm>
              <a:off x="7194550" y="4546600"/>
              <a:ext cx="52388" cy="50800"/>
            </a:xfrm>
            <a:custGeom>
              <a:avLst/>
              <a:gdLst>
                <a:gd name="T0" fmla="*/ 200 w 400"/>
                <a:gd name="T1" fmla="*/ 0 h 400"/>
                <a:gd name="T2" fmla="*/ 0 w 400"/>
                <a:gd name="T3" fmla="*/ 200 h 400"/>
                <a:gd name="T4" fmla="*/ 0 w 400"/>
                <a:gd name="T5" fmla="*/ 400 h 400"/>
                <a:gd name="T6" fmla="*/ 400 w 400"/>
                <a:gd name="T7" fmla="*/ 0 h 400"/>
                <a:gd name="T8" fmla="*/ 200 w 400"/>
                <a:gd name="T9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400">
                  <a:moveTo>
                    <a:pt x="200" y="0"/>
                  </a:moveTo>
                  <a:cubicBezTo>
                    <a:pt x="200" y="110"/>
                    <a:pt x="110" y="200"/>
                    <a:pt x="0" y="200"/>
                  </a:cubicBezTo>
                  <a:lnTo>
                    <a:pt x="0" y="400"/>
                  </a:lnTo>
                  <a:cubicBezTo>
                    <a:pt x="221" y="400"/>
                    <a:pt x="400" y="221"/>
                    <a:pt x="400" y="0"/>
                  </a:cubicBezTo>
                  <a:lnTo>
                    <a:pt x="200" y="0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7" name="Group 46"/>
          <p:cNvGrpSpPr/>
          <p:nvPr/>
        </p:nvGrpSpPr>
        <p:grpSpPr>
          <a:xfrm>
            <a:off x="781085" y="4430238"/>
            <a:ext cx="467718" cy="467724"/>
            <a:chOff x="1682750" y="1214438"/>
            <a:chExt cx="576263" cy="576262"/>
          </a:xfrm>
          <a:solidFill>
            <a:schemeClr val="tx1"/>
          </a:solidFill>
        </p:grpSpPr>
        <p:sp>
          <p:nvSpPr>
            <p:cNvPr id="91" name="Freeform 5"/>
            <p:cNvSpPr>
              <a:spLocks noEditPoints="1"/>
            </p:cNvSpPr>
            <p:nvPr/>
          </p:nvSpPr>
          <p:spPr bwMode="auto">
            <a:xfrm>
              <a:off x="1962150" y="1214438"/>
              <a:ext cx="296863" cy="576262"/>
            </a:xfrm>
            <a:custGeom>
              <a:avLst/>
              <a:gdLst>
                <a:gd name="T0" fmla="*/ 667 w 4267"/>
                <a:gd name="T1" fmla="*/ 0 h 8267"/>
                <a:gd name="T2" fmla="*/ 0 w 4267"/>
                <a:gd name="T3" fmla="*/ 6533 h 8267"/>
                <a:gd name="T4" fmla="*/ 1243 w 4267"/>
                <a:gd name="T5" fmla="*/ 7200 h 8267"/>
                <a:gd name="T6" fmla="*/ 1600 w 4267"/>
                <a:gd name="T7" fmla="*/ 7787 h 8267"/>
                <a:gd name="T8" fmla="*/ 3733 w 4267"/>
                <a:gd name="T9" fmla="*/ 8267 h 8267"/>
                <a:gd name="T10" fmla="*/ 3821 w 4267"/>
                <a:gd name="T11" fmla="*/ 7537 h 8267"/>
                <a:gd name="T12" fmla="*/ 4267 w 4267"/>
                <a:gd name="T13" fmla="*/ 6746 h 8267"/>
                <a:gd name="T14" fmla="*/ 3600 w 4267"/>
                <a:gd name="T15" fmla="*/ 0 h 8267"/>
                <a:gd name="T16" fmla="*/ 2800 w 4267"/>
                <a:gd name="T17" fmla="*/ 4000 h 8267"/>
                <a:gd name="T18" fmla="*/ 2667 w 4267"/>
                <a:gd name="T19" fmla="*/ 3733 h 8267"/>
                <a:gd name="T20" fmla="*/ 3200 w 4267"/>
                <a:gd name="T21" fmla="*/ 2133 h 8267"/>
                <a:gd name="T22" fmla="*/ 1067 w 4267"/>
                <a:gd name="T23" fmla="*/ 3733 h 8267"/>
                <a:gd name="T24" fmla="*/ 1867 w 4267"/>
                <a:gd name="T25" fmla="*/ 6211 h 8267"/>
                <a:gd name="T26" fmla="*/ 1641 w 4267"/>
                <a:gd name="T27" fmla="*/ 5148 h 8267"/>
                <a:gd name="T28" fmla="*/ 800 w 4267"/>
                <a:gd name="T29" fmla="*/ 5224 h 8267"/>
                <a:gd name="T30" fmla="*/ 3467 w 4267"/>
                <a:gd name="T31" fmla="*/ 1867 h 8267"/>
                <a:gd name="T32" fmla="*/ 3333 w 4267"/>
                <a:gd name="T33" fmla="*/ 4267 h 8267"/>
                <a:gd name="T34" fmla="*/ 1867 w 4267"/>
                <a:gd name="T35" fmla="*/ 3333 h 8267"/>
                <a:gd name="T36" fmla="*/ 1333 w 4267"/>
                <a:gd name="T37" fmla="*/ 3467 h 8267"/>
                <a:gd name="T38" fmla="*/ 2933 w 4267"/>
                <a:gd name="T39" fmla="*/ 2400 h 8267"/>
                <a:gd name="T40" fmla="*/ 2667 w 4267"/>
                <a:gd name="T41" fmla="*/ 3467 h 8267"/>
                <a:gd name="T42" fmla="*/ 2267 w 4267"/>
                <a:gd name="T43" fmla="*/ 2933 h 8267"/>
                <a:gd name="T44" fmla="*/ 802 w 4267"/>
                <a:gd name="T45" fmla="*/ 5333 h 8267"/>
                <a:gd name="T46" fmla="*/ 800 w 4267"/>
                <a:gd name="T47" fmla="*/ 5309 h 8267"/>
                <a:gd name="T48" fmla="*/ 533 w 4267"/>
                <a:gd name="T49" fmla="*/ 1600 h 8267"/>
                <a:gd name="T50" fmla="*/ 843 w 4267"/>
                <a:gd name="T51" fmla="*/ 5600 h 8267"/>
                <a:gd name="T52" fmla="*/ 267 w 4267"/>
                <a:gd name="T53" fmla="*/ 5867 h 8267"/>
                <a:gd name="T54" fmla="*/ 4000 w 4267"/>
                <a:gd name="T55" fmla="*/ 1333 h 8267"/>
                <a:gd name="T56" fmla="*/ 3867 w 4267"/>
                <a:gd name="T57" fmla="*/ 4533 h 8267"/>
                <a:gd name="T58" fmla="*/ 3733 w 4267"/>
                <a:gd name="T59" fmla="*/ 1600 h 8267"/>
                <a:gd name="T60" fmla="*/ 667 w 4267"/>
                <a:gd name="T61" fmla="*/ 267 h 8267"/>
                <a:gd name="T62" fmla="*/ 4000 w 4267"/>
                <a:gd name="T63" fmla="*/ 667 h 8267"/>
                <a:gd name="T64" fmla="*/ 267 w 4267"/>
                <a:gd name="T65" fmla="*/ 1067 h 8267"/>
                <a:gd name="T66" fmla="*/ 667 w 4267"/>
                <a:gd name="T67" fmla="*/ 267 h 8267"/>
                <a:gd name="T68" fmla="*/ 267 w 4267"/>
                <a:gd name="T69" fmla="*/ 6133 h 8267"/>
                <a:gd name="T70" fmla="*/ 1046 w 4267"/>
                <a:gd name="T71" fmla="*/ 6818 h 8267"/>
                <a:gd name="T72" fmla="*/ 667 w 4267"/>
                <a:gd name="T73" fmla="*/ 6933 h 8267"/>
                <a:gd name="T74" fmla="*/ 4000 w 4267"/>
                <a:gd name="T75" fmla="*/ 6746 h 8267"/>
                <a:gd name="T76" fmla="*/ 3613 w 4267"/>
                <a:gd name="T77" fmla="*/ 7371 h 8267"/>
                <a:gd name="T78" fmla="*/ 3467 w 4267"/>
                <a:gd name="T79" fmla="*/ 8000 h 8267"/>
                <a:gd name="T80" fmla="*/ 1867 w 4267"/>
                <a:gd name="T81" fmla="*/ 7787 h 8267"/>
                <a:gd name="T82" fmla="*/ 1391 w 4267"/>
                <a:gd name="T83" fmla="*/ 6958 h 8267"/>
                <a:gd name="T84" fmla="*/ 1069 w 4267"/>
                <a:gd name="T85" fmla="*/ 5335 h 8267"/>
                <a:gd name="T86" fmla="*/ 1067 w 4267"/>
                <a:gd name="T87" fmla="*/ 5224 h 8267"/>
                <a:gd name="T88" fmla="*/ 1379 w 4267"/>
                <a:gd name="T89" fmla="*/ 5196 h 8267"/>
                <a:gd name="T90" fmla="*/ 2000 w 4267"/>
                <a:gd name="T91" fmla="*/ 6533 h 8267"/>
                <a:gd name="T92" fmla="*/ 2133 w 4267"/>
                <a:gd name="T93" fmla="*/ 3333 h 8267"/>
                <a:gd name="T94" fmla="*/ 2400 w 4267"/>
                <a:gd name="T95" fmla="*/ 3333 h 8267"/>
                <a:gd name="T96" fmla="*/ 2667 w 4267"/>
                <a:gd name="T97" fmla="*/ 6267 h 8267"/>
                <a:gd name="T98" fmla="*/ 2800 w 4267"/>
                <a:gd name="T99" fmla="*/ 4267 h 8267"/>
                <a:gd name="T100" fmla="*/ 2933 w 4267"/>
                <a:gd name="T101" fmla="*/ 6267 h 8267"/>
                <a:gd name="T102" fmla="*/ 3200 w 4267"/>
                <a:gd name="T103" fmla="*/ 4667 h 8267"/>
                <a:gd name="T104" fmla="*/ 3467 w 4267"/>
                <a:gd name="T105" fmla="*/ 4667 h 8267"/>
                <a:gd name="T106" fmla="*/ 3733 w 4267"/>
                <a:gd name="T107" fmla="*/ 6267 h 8267"/>
                <a:gd name="T108" fmla="*/ 3867 w 4267"/>
                <a:gd name="T109" fmla="*/ 4800 h 8267"/>
                <a:gd name="T110" fmla="*/ 4000 w 4267"/>
                <a:gd name="T111" fmla="*/ 6746 h 8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267" h="8267">
                  <a:moveTo>
                    <a:pt x="3600" y="0"/>
                  </a:moveTo>
                  <a:lnTo>
                    <a:pt x="667" y="0"/>
                  </a:lnTo>
                  <a:cubicBezTo>
                    <a:pt x="299" y="0"/>
                    <a:pt x="0" y="299"/>
                    <a:pt x="0" y="667"/>
                  </a:cubicBezTo>
                  <a:lnTo>
                    <a:pt x="0" y="6533"/>
                  </a:lnTo>
                  <a:cubicBezTo>
                    <a:pt x="0" y="6901"/>
                    <a:pt x="299" y="7200"/>
                    <a:pt x="667" y="7200"/>
                  </a:cubicBezTo>
                  <a:lnTo>
                    <a:pt x="1243" y="7200"/>
                  </a:lnTo>
                  <a:lnTo>
                    <a:pt x="1512" y="7537"/>
                  </a:lnTo>
                  <a:cubicBezTo>
                    <a:pt x="1569" y="7608"/>
                    <a:pt x="1600" y="7697"/>
                    <a:pt x="1600" y="7787"/>
                  </a:cubicBezTo>
                  <a:lnTo>
                    <a:pt x="1600" y="8267"/>
                  </a:lnTo>
                  <a:lnTo>
                    <a:pt x="3733" y="8267"/>
                  </a:lnTo>
                  <a:lnTo>
                    <a:pt x="3733" y="7787"/>
                  </a:lnTo>
                  <a:cubicBezTo>
                    <a:pt x="3733" y="7697"/>
                    <a:pt x="3764" y="7608"/>
                    <a:pt x="3821" y="7537"/>
                  </a:cubicBezTo>
                  <a:lnTo>
                    <a:pt x="4120" y="7163"/>
                  </a:lnTo>
                  <a:cubicBezTo>
                    <a:pt x="4215" y="7045"/>
                    <a:pt x="4267" y="6897"/>
                    <a:pt x="4267" y="6746"/>
                  </a:cubicBezTo>
                  <a:lnTo>
                    <a:pt x="4267" y="667"/>
                  </a:lnTo>
                  <a:cubicBezTo>
                    <a:pt x="4267" y="299"/>
                    <a:pt x="3968" y="0"/>
                    <a:pt x="3600" y="0"/>
                  </a:cubicBezTo>
                  <a:close/>
                  <a:moveTo>
                    <a:pt x="3184" y="4296"/>
                  </a:moveTo>
                  <a:cubicBezTo>
                    <a:pt x="3139" y="4126"/>
                    <a:pt x="2984" y="4000"/>
                    <a:pt x="2800" y="4000"/>
                  </a:cubicBezTo>
                  <a:cubicBezTo>
                    <a:pt x="2753" y="4000"/>
                    <a:pt x="2709" y="4010"/>
                    <a:pt x="2667" y="4025"/>
                  </a:cubicBezTo>
                  <a:lnTo>
                    <a:pt x="2667" y="3733"/>
                  </a:lnTo>
                  <a:lnTo>
                    <a:pt x="3200" y="3733"/>
                  </a:lnTo>
                  <a:lnTo>
                    <a:pt x="3200" y="2133"/>
                  </a:lnTo>
                  <a:lnTo>
                    <a:pt x="1067" y="2133"/>
                  </a:lnTo>
                  <a:lnTo>
                    <a:pt x="1067" y="3733"/>
                  </a:lnTo>
                  <a:lnTo>
                    <a:pt x="1867" y="3733"/>
                  </a:lnTo>
                  <a:lnTo>
                    <a:pt x="1867" y="6211"/>
                  </a:lnTo>
                  <a:cubicBezTo>
                    <a:pt x="1841" y="6185"/>
                    <a:pt x="1824" y="6152"/>
                    <a:pt x="1817" y="6114"/>
                  </a:cubicBezTo>
                  <a:lnTo>
                    <a:pt x="1641" y="5148"/>
                  </a:lnTo>
                  <a:cubicBezTo>
                    <a:pt x="1605" y="4947"/>
                    <a:pt x="1429" y="4800"/>
                    <a:pt x="1224" y="4800"/>
                  </a:cubicBezTo>
                  <a:cubicBezTo>
                    <a:pt x="990" y="4800"/>
                    <a:pt x="800" y="4990"/>
                    <a:pt x="800" y="5224"/>
                  </a:cubicBezTo>
                  <a:lnTo>
                    <a:pt x="800" y="1867"/>
                  </a:lnTo>
                  <a:lnTo>
                    <a:pt x="3467" y="1867"/>
                  </a:lnTo>
                  <a:lnTo>
                    <a:pt x="3467" y="4291"/>
                  </a:lnTo>
                  <a:cubicBezTo>
                    <a:pt x="3425" y="4276"/>
                    <a:pt x="3380" y="4267"/>
                    <a:pt x="3333" y="4267"/>
                  </a:cubicBezTo>
                  <a:cubicBezTo>
                    <a:pt x="3281" y="4267"/>
                    <a:pt x="3231" y="4277"/>
                    <a:pt x="3184" y="4296"/>
                  </a:cubicBezTo>
                  <a:close/>
                  <a:moveTo>
                    <a:pt x="1867" y="3333"/>
                  </a:moveTo>
                  <a:lnTo>
                    <a:pt x="1867" y="3467"/>
                  </a:lnTo>
                  <a:lnTo>
                    <a:pt x="1333" y="3467"/>
                  </a:lnTo>
                  <a:lnTo>
                    <a:pt x="1333" y="2400"/>
                  </a:lnTo>
                  <a:lnTo>
                    <a:pt x="2933" y="2400"/>
                  </a:lnTo>
                  <a:lnTo>
                    <a:pt x="2933" y="3467"/>
                  </a:lnTo>
                  <a:lnTo>
                    <a:pt x="2667" y="3467"/>
                  </a:lnTo>
                  <a:lnTo>
                    <a:pt x="2667" y="3333"/>
                  </a:lnTo>
                  <a:cubicBezTo>
                    <a:pt x="2667" y="3113"/>
                    <a:pt x="2487" y="2933"/>
                    <a:pt x="2267" y="2933"/>
                  </a:cubicBezTo>
                  <a:cubicBezTo>
                    <a:pt x="2046" y="2933"/>
                    <a:pt x="1867" y="3113"/>
                    <a:pt x="1867" y="3333"/>
                  </a:cubicBezTo>
                  <a:close/>
                  <a:moveTo>
                    <a:pt x="802" y="5333"/>
                  </a:moveTo>
                  <a:lnTo>
                    <a:pt x="800" y="5333"/>
                  </a:lnTo>
                  <a:lnTo>
                    <a:pt x="800" y="5309"/>
                  </a:lnTo>
                  <a:cubicBezTo>
                    <a:pt x="800" y="5317"/>
                    <a:pt x="802" y="5325"/>
                    <a:pt x="802" y="5333"/>
                  </a:cubicBezTo>
                  <a:close/>
                  <a:moveTo>
                    <a:pt x="533" y="1600"/>
                  </a:moveTo>
                  <a:lnTo>
                    <a:pt x="533" y="5600"/>
                  </a:lnTo>
                  <a:lnTo>
                    <a:pt x="843" y="5600"/>
                  </a:lnTo>
                  <a:lnTo>
                    <a:pt x="887" y="5867"/>
                  </a:lnTo>
                  <a:lnTo>
                    <a:pt x="267" y="5867"/>
                  </a:lnTo>
                  <a:lnTo>
                    <a:pt x="267" y="1333"/>
                  </a:lnTo>
                  <a:lnTo>
                    <a:pt x="4000" y="1333"/>
                  </a:lnTo>
                  <a:lnTo>
                    <a:pt x="4000" y="4558"/>
                  </a:lnTo>
                  <a:cubicBezTo>
                    <a:pt x="3958" y="4543"/>
                    <a:pt x="3914" y="4533"/>
                    <a:pt x="3867" y="4533"/>
                  </a:cubicBezTo>
                  <a:cubicBezTo>
                    <a:pt x="3820" y="4533"/>
                    <a:pt x="3775" y="4543"/>
                    <a:pt x="3733" y="4558"/>
                  </a:cubicBezTo>
                  <a:lnTo>
                    <a:pt x="3733" y="1600"/>
                  </a:lnTo>
                  <a:lnTo>
                    <a:pt x="533" y="1600"/>
                  </a:lnTo>
                  <a:close/>
                  <a:moveTo>
                    <a:pt x="667" y="267"/>
                  </a:moveTo>
                  <a:lnTo>
                    <a:pt x="3600" y="267"/>
                  </a:lnTo>
                  <a:cubicBezTo>
                    <a:pt x="3820" y="267"/>
                    <a:pt x="4000" y="446"/>
                    <a:pt x="4000" y="667"/>
                  </a:cubicBezTo>
                  <a:lnTo>
                    <a:pt x="4000" y="1067"/>
                  </a:lnTo>
                  <a:lnTo>
                    <a:pt x="267" y="1067"/>
                  </a:lnTo>
                  <a:lnTo>
                    <a:pt x="267" y="667"/>
                  </a:lnTo>
                  <a:cubicBezTo>
                    <a:pt x="267" y="446"/>
                    <a:pt x="446" y="267"/>
                    <a:pt x="667" y="267"/>
                  </a:cubicBezTo>
                  <a:close/>
                  <a:moveTo>
                    <a:pt x="267" y="6533"/>
                  </a:moveTo>
                  <a:lnTo>
                    <a:pt x="267" y="6133"/>
                  </a:lnTo>
                  <a:lnTo>
                    <a:pt x="931" y="6133"/>
                  </a:lnTo>
                  <a:lnTo>
                    <a:pt x="1046" y="6818"/>
                  </a:lnTo>
                  <a:cubicBezTo>
                    <a:pt x="1052" y="6858"/>
                    <a:pt x="1063" y="6896"/>
                    <a:pt x="1077" y="6933"/>
                  </a:cubicBezTo>
                  <a:lnTo>
                    <a:pt x="667" y="6933"/>
                  </a:lnTo>
                  <a:cubicBezTo>
                    <a:pt x="446" y="6933"/>
                    <a:pt x="267" y="6754"/>
                    <a:pt x="267" y="6533"/>
                  </a:cubicBezTo>
                  <a:close/>
                  <a:moveTo>
                    <a:pt x="4000" y="6746"/>
                  </a:moveTo>
                  <a:cubicBezTo>
                    <a:pt x="4000" y="6837"/>
                    <a:pt x="3969" y="6925"/>
                    <a:pt x="3912" y="6996"/>
                  </a:cubicBezTo>
                  <a:lnTo>
                    <a:pt x="3613" y="7371"/>
                  </a:lnTo>
                  <a:cubicBezTo>
                    <a:pt x="3519" y="7488"/>
                    <a:pt x="3467" y="7636"/>
                    <a:pt x="3467" y="7787"/>
                  </a:cubicBezTo>
                  <a:lnTo>
                    <a:pt x="3467" y="8000"/>
                  </a:lnTo>
                  <a:lnTo>
                    <a:pt x="1867" y="8000"/>
                  </a:lnTo>
                  <a:lnTo>
                    <a:pt x="1867" y="7787"/>
                  </a:lnTo>
                  <a:cubicBezTo>
                    <a:pt x="1867" y="7636"/>
                    <a:pt x="1815" y="7488"/>
                    <a:pt x="1720" y="7371"/>
                  </a:cubicBezTo>
                  <a:lnTo>
                    <a:pt x="1391" y="6958"/>
                  </a:lnTo>
                  <a:cubicBezTo>
                    <a:pt x="1348" y="6905"/>
                    <a:pt x="1320" y="6842"/>
                    <a:pt x="1309" y="6774"/>
                  </a:cubicBezTo>
                  <a:lnTo>
                    <a:pt x="1069" y="5335"/>
                  </a:lnTo>
                  <a:cubicBezTo>
                    <a:pt x="1067" y="5326"/>
                    <a:pt x="1067" y="5318"/>
                    <a:pt x="1067" y="5309"/>
                  </a:cubicBezTo>
                  <a:lnTo>
                    <a:pt x="1067" y="5224"/>
                  </a:lnTo>
                  <a:cubicBezTo>
                    <a:pt x="1067" y="5137"/>
                    <a:pt x="1137" y="5067"/>
                    <a:pt x="1224" y="5067"/>
                  </a:cubicBezTo>
                  <a:cubicBezTo>
                    <a:pt x="1300" y="5067"/>
                    <a:pt x="1365" y="5121"/>
                    <a:pt x="1379" y="5196"/>
                  </a:cubicBezTo>
                  <a:lnTo>
                    <a:pt x="1554" y="6161"/>
                  </a:lnTo>
                  <a:cubicBezTo>
                    <a:pt x="1594" y="6377"/>
                    <a:pt x="1781" y="6533"/>
                    <a:pt x="2000" y="6533"/>
                  </a:cubicBezTo>
                  <a:lnTo>
                    <a:pt x="2133" y="6533"/>
                  </a:lnTo>
                  <a:lnTo>
                    <a:pt x="2133" y="3333"/>
                  </a:lnTo>
                  <a:cubicBezTo>
                    <a:pt x="2133" y="3260"/>
                    <a:pt x="2193" y="3200"/>
                    <a:pt x="2267" y="3200"/>
                  </a:cubicBezTo>
                  <a:cubicBezTo>
                    <a:pt x="2340" y="3200"/>
                    <a:pt x="2400" y="3260"/>
                    <a:pt x="2400" y="3333"/>
                  </a:cubicBezTo>
                  <a:lnTo>
                    <a:pt x="2400" y="6267"/>
                  </a:lnTo>
                  <a:lnTo>
                    <a:pt x="2667" y="6267"/>
                  </a:lnTo>
                  <a:lnTo>
                    <a:pt x="2667" y="4400"/>
                  </a:lnTo>
                  <a:cubicBezTo>
                    <a:pt x="2667" y="4327"/>
                    <a:pt x="2727" y="4267"/>
                    <a:pt x="2800" y="4267"/>
                  </a:cubicBezTo>
                  <a:cubicBezTo>
                    <a:pt x="2873" y="4267"/>
                    <a:pt x="2933" y="4327"/>
                    <a:pt x="2933" y="4400"/>
                  </a:cubicBezTo>
                  <a:lnTo>
                    <a:pt x="2933" y="6267"/>
                  </a:lnTo>
                  <a:lnTo>
                    <a:pt x="3200" y="6267"/>
                  </a:lnTo>
                  <a:lnTo>
                    <a:pt x="3200" y="4667"/>
                  </a:lnTo>
                  <a:cubicBezTo>
                    <a:pt x="3200" y="4593"/>
                    <a:pt x="3260" y="4533"/>
                    <a:pt x="3333" y="4533"/>
                  </a:cubicBezTo>
                  <a:cubicBezTo>
                    <a:pt x="3407" y="4533"/>
                    <a:pt x="3467" y="4593"/>
                    <a:pt x="3467" y="4667"/>
                  </a:cubicBezTo>
                  <a:lnTo>
                    <a:pt x="3467" y="6267"/>
                  </a:lnTo>
                  <a:lnTo>
                    <a:pt x="3733" y="6267"/>
                  </a:lnTo>
                  <a:lnTo>
                    <a:pt x="3733" y="4933"/>
                  </a:lnTo>
                  <a:cubicBezTo>
                    <a:pt x="3733" y="4860"/>
                    <a:pt x="3793" y="4800"/>
                    <a:pt x="3867" y="4800"/>
                  </a:cubicBezTo>
                  <a:cubicBezTo>
                    <a:pt x="3940" y="4800"/>
                    <a:pt x="4000" y="4860"/>
                    <a:pt x="4000" y="4933"/>
                  </a:cubicBezTo>
                  <a:lnTo>
                    <a:pt x="4000" y="67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6"/>
            <p:cNvSpPr>
              <a:spLocks noChangeArrowheads="1"/>
            </p:cNvSpPr>
            <p:nvPr/>
          </p:nvSpPr>
          <p:spPr bwMode="auto">
            <a:xfrm>
              <a:off x="2073275" y="1250950"/>
              <a:ext cx="74613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7"/>
            <p:cNvSpPr>
              <a:spLocks noChangeArrowheads="1"/>
            </p:cNvSpPr>
            <p:nvPr/>
          </p:nvSpPr>
          <p:spPr bwMode="auto">
            <a:xfrm>
              <a:off x="2165350" y="1250950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8"/>
            <p:cNvSpPr>
              <a:spLocks noChangeArrowheads="1"/>
            </p:cNvSpPr>
            <p:nvPr/>
          </p:nvSpPr>
          <p:spPr bwMode="auto">
            <a:xfrm>
              <a:off x="2035175" y="1250950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9"/>
            <p:cNvSpPr>
              <a:spLocks noEditPoints="1"/>
            </p:cNvSpPr>
            <p:nvPr/>
          </p:nvSpPr>
          <p:spPr bwMode="auto">
            <a:xfrm>
              <a:off x="1776413" y="1289050"/>
              <a:ext cx="55563" cy="55562"/>
            </a:xfrm>
            <a:custGeom>
              <a:avLst/>
              <a:gdLst>
                <a:gd name="T0" fmla="*/ 0 w 800"/>
                <a:gd name="T1" fmla="*/ 400 h 800"/>
                <a:gd name="T2" fmla="*/ 400 w 800"/>
                <a:gd name="T3" fmla="*/ 800 h 800"/>
                <a:gd name="T4" fmla="*/ 800 w 800"/>
                <a:gd name="T5" fmla="*/ 400 h 800"/>
                <a:gd name="T6" fmla="*/ 400 w 800"/>
                <a:gd name="T7" fmla="*/ 0 h 800"/>
                <a:gd name="T8" fmla="*/ 0 w 800"/>
                <a:gd name="T9" fmla="*/ 400 h 800"/>
                <a:gd name="T10" fmla="*/ 534 w 800"/>
                <a:gd name="T11" fmla="*/ 400 h 800"/>
                <a:gd name="T12" fmla="*/ 400 w 800"/>
                <a:gd name="T13" fmla="*/ 533 h 800"/>
                <a:gd name="T14" fmla="*/ 267 w 800"/>
                <a:gd name="T15" fmla="*/ 400 h 800"/>
                <a:gd name="T16" fmla="*/ 400 w 800"/>
                <a:gd name="T17" fmla="*/ 266 h 800"/>
                <a:gd name="T18" fmla="*/ 534 w 800"/>
                <a:gd name="T19" fmla="*/ 40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0" h="800">
                  <a:moveTo>
                    <a:pt x="0" y="400"/>
                  </a:moveTo>
                  <a:cubicBezTo>
                    <a:pt x="0" y="620"/>
                    <a:pt x="180" y="800"/>
                    <a:pt x="400" y="800"/>
                  </a:cubicBezTo>
                  <a:cubicBezTo>
                    <a:pt x="621" y="800"/>
                    <a:pt x="800" y="620"/>
                    <a:pt x="800" y="400"/>
                  </a:cubicBezTo>
                  <a:cubicBezTo>
                    <a:pt x="800" y="179"/>
                    <a:pt x="621" y="0"/>
                    <a:pt x="400" y="0"/>
                  </a:cubicBezTo>
                  <a:cubicBezTo>
                    <a:pt x="180" y="0"/>
                    <a:pt x="0" y="179"/>
                    <a:pt x="0" y="400"/>
                  </a:cubicBezTo>
                  <a:close/>
                  <a:moveTo>
                    <a:pt x="534" y="400"/>
                  </a:moveTo>
                  <a:cubicBezTo>
                    <a:pt x="534" y="473"/>
                    <a:pt x="474" y="533"/>
                    <a:pt x="400" y="533"/>
                  </a:cubicBezTo>
                  <a:cubicBezTo>
                    <a:pt x="327" y="533"/>
                    <a:pt x="267" y="473"/>
                    <a:pt x="267" y="400"/>
                  </a:cubicBezTo>
                  <a:cubicBezTo>
                    <a:pt x="267" y="326"/>
                    <a:pt x="327" y="266"/>
                    <a:pt x="400" y="266"/>
                  </a:cubicBezTo>
                  <a:cubicBezTo>
                    <a:pt x="474" y="266"/>
                    <a:pt x="534" y="326"/>
                    <a:pt x="534" y="4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10"/>
            <p:cNvSpPr>
              <a:spLocks/>
            </p:cNvSpPr>
            <p:nvPr/>
          </p:nvSpPr>
          <p:spPr bwMode="auto">
            <a:xfrm>
              <a:off x="1738313" y="1250950"/>
              <a:ext cx="130175" cy="65087"/>
            </a:xfrm>
            <a:custGeom>
              <a:avLst/>
              <a:gdLst>
                <a:gd name="T0" fmla="*/ 1600 w 1867"/>
                <a:gd name="T1" fmla="*/ 934 h 934"/>
                <a:gd name="T2" fmla="*/ 1867 w 1867"/>
                <a:gd name="T3" fmla="*/ 934 h 934"/>
                <a:gd name="T4" fmla="*/ 933 w 1867"/>
                <a:gd name="T5" fmla="*/ 0 h 934"/>
                <a:gd name="T6" fmla="*/ 0 w 1867"/>
                <a:gd name="T7" fmla="*/ 934 h 934"/>
                <a:gd name="T8" fmla="*/ 267 w 1867"/>
                <a:gd name="T9" fmla="*/ 934 h 934"/>
                <a:gd name="T10" fmla="*/ 933 w 1867"/>
                <a:gd name="T11" fmla="*/ 267 h 934"/>
                <a:gd name="T12" fmla="*/ 1600 w 1867"/>
                <a:gd name="T13" fmla="*/ 934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7" h="934">
                  <a:moveTo>
                    <a:pt x="1600" y="934"/>
                  </a:moveTo>
                  <a:lnTo>
                    <a:pt x="1867" y="934"/>
                  </a:lnTo>
                  <a:cubicBezTo>
                    <a:pt x="1867" y="419"/>
                    <a:pt x="1448" y="0"/>
                    <a:pt x="933" y="0"/>
                  </a:cubicBezTo>
                  <a:cubicBezTo>
                    <a:pt x="419" y="0"/>
                    <a:pt x="0" y="419"/>
                    <a:pt x="0" y="934"/>
                  </a:cubicBezTo>
                  <a:lnTo>
                    <a:pt x="267" y="934"/>
                  </a:lnTo>
                  <a:cubicBezTo>
                    <a:pt x="267" y="566"/>
                    <a:pt x="566" y="267"/>
                    <a:pt x="933" y="267"/>
                  </a:cubicBezTo>
                  <a:cubicBezTo>
                    <a:pt x="1301" y="267"/>
                    <a:pt x="1600" y="566"/>
                    <a:pt x="1600" y="9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11"/>
            <p:cNvSpPr>
              <a:spLocks/>
            </p:cNvSpPr>
            <p:nvPr/>
          </p:nvSpPr>
          <p:spPr bwMode="auto">
            <a:xfrm>
              <a:off x="1701800" y="1214438"/>
              <a:ext cx="204788" cy="101600"/>
            </a:xfrm>
            <a:custGeom>
              <a:avLst/>
              <a:gdLst>
                <a:gd name="T0" fmla="*/ 1466 w 2933"/>
                <a:gd name="T1" fmla="*/ 267 h 1467"/>
                <a:gd name="T2" fmla="*/ 2666 w 2933"/>
                <a:gd name="T3" fmla="*/ 1467 h 1467"/>
                <a:gd name="T4" fmla="*/ 2933 w 2933"/>
                <a:gd name="T5" fmla="*/ 1467 h 1467"/>
                <a:gd name="T6" fmla="*/ 1466 w 2933"/>
                <a:gd name="T7" fmla="*/ 0 h 1467"/>
                <a:gd name="T8" fmla="*/ 0 w 2933"/>
                <a:gd name="T9" fmla="*/ 1467 h 1467"/>
                <a:gd name="T10" fmla="*/ 266 w 2933"/>
                <a:gd name="T11" fmla="*/ 1467 h 1467"/>
                <a:gd name="T12" fmla="*/ 1466 w 2933"/>
                <a:gd name="T13" fmla="*/ 267 h 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3" h="1467">
                  <a:moveTo>
                    <a:pt x="1466" y="267"/>
                  </a:moveTo>
                  <a:cubicBezTo>
                    <a:pt x="2128" y="267"/>
                    <a:pt x="2666" y="805"/>
                    <a:pt x="2666" y="1467"/>
                  </a:cubicBezTo>
                  <a:lnTo>
                    <a:pt x="2933" y="1467"/>
                  </a:lnTo>
                  <a:cubicBezTo>
                    <a:pt x="2933" y="658"/>
                    <a:pt x="2275" y="0"/>
                    <a:pt x="1466" y="0"/>
                  </a:cubicBezTo>
                  <a:cubicBezTo>
                    <a:pt x="658" y="0"/>
                    <a:pt x="0" y="658"/>
                    <a:pt x="0" y="1467"/>
                  </a:cubicBezTo>
                  <a:lnTo>
                    <a:pt x="266" y="1467"/>
                  </a:lnTo>
                  <a:cubicBezTo>
                    <a:pt x="266" y="805"/>
                    <a:pt x="805" y="267"/>
                    <a:pt x="1466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12"/>
            <p:cNvSpPr>
              <a:spLocks noEditPoints="1"/>
            </p:cNvSpPr>
            <p:nvPr/>
          </p:nvSpPr>
          <p:spPr bwMode="auto">
            <a:xfrm>
              <a:off x="1682750" y="1344613"/>
              <a:ext cx="241300" cy="446087"/>
            </a:xfrm>
            <a:custGeom>
              <a:avLst/>
              <a:gdLst>
                <a:gd name="T0" fmla="*/ 667 w 3467"/>
                <a:gd name="T1" fmla="*/ 533 h 6400"/>
                <a:gd name="T2" fmla="*/ 0 w 3467"/>
                <a:gd name="T3" fmla="*/ 666 h 6400"/>
                <a:gd name="T4" fmla="*/ 1600 w 3467"/>
                <a:gd name="T5" fmla="*/ 1866 h 6400"/>
                <a:gd name="T6" fmla="*/ 667 w 3467"/>
                <a:gd name="T7" fmla="*/ 2666 h 6400"/>
                <a:gd name="T8" fmla="*/ 0 w 3467"/>
                <a:gd name="T9" fmla="*/ 2800 h 6400"/>
                <a:gd name="T10" fmla="*/ 1600 w 3467"/>
                <a:gd name="T11" fmla="*/ 4000 h 6400"/>
                <a:gd name="T12" fmla="*/ 0 w 3467"/>
                <a:gd name="T13" fmla="*/ 4266 h 6400"/>
                <a:gd name="T14" fmla="*/ 279 w 3467"/>
                <a:gd name="T15" fmla="*/ 5066 h 6400"/>
                <a:gd name="T16" fmla="*/ 3054 w 3467"/>
                <a:gd name="T17" fmla="*/ 6400 h 6400"/>
                <a:gd name="T18" fmla="*/ 3467 w 3467"/>
                <a:gd name="T19" fmla="*/ 5066 h 6400"/>
                <a:gd name="T20" fmla="*/ 1867 w 3467"/>
                <a:gd name="T21" fmla="*/ 4266 h 6400"/>
                <a:gd name="T22" fmla="*/ 2267 w 3467"/>
                <a:gd name="T23" fmla="*/ 3466 h 6400"/>
                <a:gd name="T24" fmla="*/ 3467 w 3467"/>
                <a:gd name="T25" fmla="*/ 2133 h 6400"/>
                <a:gd name="T26" fmla="*/ 1867 w 3467"/>
                <a:gd name="T27" fmla="*/ 2580 h 6400"/>
                <a:gd name="T28" fmla="*/ 2267 w 3467"/>
                <a:gd name="T29" fmla="*/ 1333 h 6400"/>
                <a:gd name="T30" fmla="*/ 3467 w 3467"/>
                <a:gd name="T31" fmla="*/ 0 h 6400"/>
                <a:gd name="T32" fmla="*/ 1617 w 3467"/>
                <a:gd name="T33" fmla="*/ 1004 h 6400"/>
                <a:gd name="T34" fmla="*/ 654 w 3467"/>
                <a:gd name="T35" fmla="*/ 6133 h 6400"/>
                <a:gd name="T36" fmla="*/ 2919 w 3467"/>
                <a:gd name="T37" fmla="*/ 5066 h 6400"/>
                <a:gd name="T38" fmla="*/ 3200 w 3467"/>
                <a:gd name="T39" fmla="*/ 4800 h 6400"/>
                <a:gd name="T40" fmla="*/ 267 w 3467"/>
                <a:gd name="T41" fmla="*/ 4533 h 6400"/>
                <a:gd name="T42" fmla="*/ 3200 w 3467"/>
                <a:gd name="T43" fmla="*/ 4800 h 6400"/>
                <a:gd name="T44" fmla="*/ 3191 w 3467"/>
                <a:gd name="T45" fmla="*/ 2400 h 6400"/>
                <a:gd name="T46" fmla="*/ 1876 w 3467"/>
                <a:gd name="T47" fmla="*/ 3200 h 6400"/>
                <a:gd name="T48" fmla="*/ 1200 w 3467"/>
                <a:gd name="T49" fmla="*/ 3733 h 6400"/>
                <a:gd name="T50" fmla="*/ 667 w 3467"/>
                <a:gd name="T51" fmla="*/ 2933 h 6400"/>
                <a:gd name="T52" fmla="*/ 1200 w 3467"/>
                <a:gd name="T53" fmla="*/ 3733 h 6400"/>
                <a:gd name="T54" fmla="*/ 276 w 3467"/>
                <a:gd name="T55" fmla="*/ 800 h 6400"/>
                <a:gd name="T56" fmla="*/ 1591 w 3467"/>
                <a:gd name="T57" fmla="*/ 1600 h 6400"/>
                <a:gd name="T58" fmla="*/ 2267 w 3467"/>
                <a:gd name="T59" fmla="*/ 1066 h 6400"/>
                <a:gd name="T60" fmla="*/ 2800 w 3467"/>
                <a:gd name="T61" fmla="*/ 266 h 6400"/>
                <a:gd name="T62" fmla="*/ 2267 w 3467"/>
                <a:gd name="T63" fmla="*/ 1066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67" h="6400">
                  <a:moveTo>
                    <a:pt x="1617" y="1004"/>
                  </a:moveTo>
                  <a:cubicBezTo>
                    <a:pt x="1398" y="718"/>
                    <a:pt x="1054" y="533"/>
                    <a:pt x="667" y="533"/>
                  </a:cubicBezTo>
                  <a:lnTo>
                    <a:pt x="0" y="533"/>
                  </a:lnTo>
                  <a:lnTo>
                    <a:pt x="0" y="666"/>
                  </a:lnTo>
                  <a:cubicBezTo>
                    <a:pt x="0" y="1328"/>
                    <a:pt x="538" y="1866"/>
                    <a:pt x="1200" y="1866"/>
                  </a:cubicBezTo>
                  <a:lnTo>
                    <a:pt x="1600" y="1866"/>
                  </a:lnTo>
                  <a:lnTo>
                    <a:pt x="1600" y="3114"/>
                  </a:lnTo>
                  <a:cubicBezTo>
                    <a:pt x="1380" y="2841"/>
                    <a:pt x="1043" y="2666"/>
                    <a:pt x="667" y="2666"/>
                  </a:cubicBezTo>
                  <a:lnTo>
                    <a:pt x="0" y="2666"/>
                  </a:lnTo>
                  <a:lnTo>
                    <a:pt x="0" y="2800"/>
                  </a:lnTo>
                  <a:cubicBezTo>
                    <a:pt x="0" y="3461"/>
                    <a:pt x="538" y="4000"/>
                    <a:pt x="1200" y="4000"/>
                  </a:cubicBezTo>
                  <a:lnTo>
                    <a:pt x="1600" y="4000"/>
                  </a:lnTo>
                  <a:lnTo>
                    <a:pt x="1600" y="4266"/>
                  </a:lnTo>
                  <a:lnTo>
                    <a:pt x="0" y="4266"/>
                  </a:lnTo>
                  <a:lnTo>
                    <a:pt x="0" y="5066"/>
                  </a:lnTo>
                  <a:lnTo>
                    <a:pt x="279" y="5066"/>
                  </a:lnTo>
                  <a:lnTo>
                    <a:pt x="413" y="6400"/>
                  </a:lnTo>
                  <a:lnTo>
                    <a:pt x="3054" y="6400"/>
                  </a:lnTo>
                  <a:lnTo>
                    <a:pt x="3187" y="5066"/>
                  </a:lnTo>
                  <a:lnTo>
                    <a:pt x="3467" y="5066"/>
                  </a:lnTo>
                  <a:lnTo>
                    <a:pt x="3467" y="4266"/>
                  </a:lnTo>
                  <a:lnTo>
                    <a:pt x="1867" y="4266"/>
                  </a:lnTo>
                  <a:lnTo>
                    <a:pt x="1867" y="3466"/>
                  </a:lnTo>
                  <a:lnTo>
                    <a:pt x="2267" y="3466"/>
                  </a:lnTo>
                  <a:cubicBezTo>
                    <a:pt x="2928" y="3466"/>
                    <a:pt x="3467" y="2928"/>
                    <a:pt x="3467" y="2266"/>
                  </a:cubicBezTo>
                  <a:lnTo>
                    <a:pt x="3467" y="2133"/>
                  </a:lnTo>
                  <a:lnTo>
                    <a:pt x="2800" y="2133"/>
                  </a:lnTo>
                  <a:cubicBezTo>
                    <a:pt x="2423" y="2133"/>
                    <a:pt x="2087" y="2308"/>
                    <a:pt x="1867" y="2580"/>
                  </a:cubicBezTo>
                  <a:lnTo>
                    <a:pt x="1867" y="1333"/>
                  </a:lnTo>
                  <a:lnTo>
                    <a:pt x="2267" y="1333"/>
                  </a:lnTo>
                  <a:cubicBezTo>
                    <a:pt x="2928" y="1333"/>
                    <a:pt x="3467" y="795"/>
                    <a:pt x="3467" y="133"/>
                  </a:cubicBezTo>
                  <a:lnTo>
                    <a:pt x="3467" y="0"/>
                  </a:lnTo>
                  <a:lnTo>
                    <a:pt x="2800" y="0"/>
                  </a:lnTo>
                  <a:cubicBezTo>
                    <a:pt x="2205" y="0"/>
                    <a:pt x="1711" y="435"/>
                    <a:pt x="1617" y="1004"/>
                  </a:cubicBezTo>
                  <a:close/>
                  <a:moveTo>
                    <a:pt x="2813" y="6133"/>
                  </a:moveTo>
                  <a:lnTo>
                    <a:pt x="654" y="6133"/>
                  </a:lnTo>
                  <a:lnTo>
                    <a:pt x="547" y="5066"/>
                  </a:lnTo>
                  <a:lnTo>
                    <a:pt x="2919" y="5066"/>
                  </a:lnTo>
                  <a:lnTo>
                    <a:pt x="2813" y="6133"/>
                  </a:lnTo>
                  <a:close/>
                  <a:moveTo>
                    <a:pt x="3200" y="4800"/>
                  </a:moveTo>
                  <a:lnTo>
                    <a:pt x="267" y="4800"/>
                  </a:lnTo>
                  <a:lnTo>
                    <a:pt x="267" y="4533"/>
                  </a:lnTo>
                  <a:lnTo>
                    <a:pt x="3200" y="4533"/>
                  </a:lnTo>
                  <a:lnTo>
                    <a:pt x="3200" y="4800"/>
                  </a:lnTo>
                  <a:close/>
                  <a:moveTo>
                    <a:pt x="2800" y="2400"/>
                  </a:moveTo>
                  <a:lnTo>
                    <a:pt x="3191" y="2400"/>
                  </a:lnTo>
                  <a:cubicBezTo>
                    <a:pt x="3126" y="2851"/>
                    <a:pt x="2736" y="3200"/>
                    <a:pt x="2267" y="3200"/>
                  </a:cubicBezTo>
                  <a:lnTo>
                    <a:pt x="1876" y="3200"/>
                  </a:lnTo>
                  <a:cubicBezTo>
                    <a:pt x="1941" y="2748"/>
                    <a:pt x="2331" y="2400"/>
                    <a:pt x="2800" y="2400"/>
                  </a:cubicBezTo>
                  <a:close/>
                  <a:moveTo>
                    <a:pt x="1200" y="3733"/>
                  </a:moveTo>
                  <a:cubicBezTo>
                    <a:pt x="731" y="3733"/>
                    <a:pt x="341" y="3385"/>
                    <a:pt x="276" y="2933"/>
                  </a:cubicBezTo>
                  <a:lnTo>
                    <a:pt x="667" y="2933"/>
                  </a:lnTo>
                  <a:cubicBezTo>
                    <a:pt x="1136" y="2933"/>
                    <a:pt x="1526" y="3281"/>
                    <a:pt x="1591" y="3733"/>
                  </a:cubicBezTo>
                  <a:lnTo>
                    <a:pt x="1200" y="3733"/>
                  </a:lnTo>
                  <a:close/>
                  <a:moveTo>
                    <a:pt x="1200" y="1600"/>
                  </a:moveTo>
                  <a:cubicBezTo>
                    <a:pt x="731" y="1600"/>
                    <a:pt x="341" y="1251"/>
                    <a:pt x="276" y="800"/>
                  </a:cubicBezTo>
                  <a:lnTo>
                    <a:pt x="667" y="800"/>
                  </a:lnTo>
                  <a:cubicBezTo>
                    <a:pt x="1136" y="800"/>
                    <a:pt x="1526" y="1148"/>
                    <a:pt x="1591" y="1600"/>
                  </a:cubicBezTo>
                  <a:lnTo>
                    <a:pt x="1200" y="1600"/>
                  </a:lnTo>
                  <a:close/>
                  <a:moveTo>
                    <a:pt x="2267" y="1066"/>
                  </a:moveTo>
                  <a:lnTo>
                    <a:pt x="1876" y="1066"/>
                  </a:lnTo>
                  <a:cubicBezTo>
                    <a:pt x="1941" y="615"/>
                    <a:pt x="2331" y="266"/>
                    <a:pt x="2800" y="266"/>
                  </a:cubicBezTo>
                  <a:lnTo>
                    <a:pt x="3191" y="266"/>
                  </a:lnTo>
                  <a:cubicBezTo>
                    <a:pt x="3126" y="718"/>
                    <a:pt x="2736" y="1066"/>
                    <a:pt x="2267" y="10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2" name="Рисунок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5745521" y="1019149"/>
            <a:ext cx="5464631" cy="2133600"/>
          </a:xfrm>
          <a:prstGeom prst="rect">
            <a:avLst/>
          </a:prstGeom>
          <a:solidFill>
            <a:srgbClr val="F7E3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Прямоугольник 99"/>
          <p:cNvSpPr/>
          <p:nvPr/>
        </p:nvSpPr>
        <p:spPr>
          <a:xfrm>
            <a:off x="6357257" y="4984750"/>
            <a:ext cx="1995715" cy="1873250"/>
          </a:xfrm>
          <a:prstGeom prst="rect">
            <a:avLst/>
          </a:prstGeom>
          <a:solidFill>
            <a:srgbClr val="F7E3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Равнобедренный треугольник 12"/>
          <p:cNvSpPr/>
          <p:nvPr/>
        </p:nvSpPr>
        <p:spPr>
          <a:xfrm rot="5400000">
            <a:off x="3579264" y="1754735"/>
            <a:ext cx="6858001" cy="3348531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451078" y="502509"/>
            <a:ext cx="7795148" cy="707886"/>
          </a:xfrm>
          <a:prstGeom prst="rect">
            <a:avLst/>
          </a:prstGeom>
          <a:solidFill>
            <a:srgbClr val="088054"/>
          </a:solidFill>
        </p:spPr>
        <p:txBody>
          <a:bodyPr wrap="square">
            <a:spAutoFit/>
          </a:bodyPr>
          <a:lstStyle/>
          <a:p>
            <a:pPr marL="261938" indent="-261938"/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КЛЮЧЕВЫЕ </a:t>
            </a:r>
            <a:r>
              <a:rPr lang="ru-RU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 </a:t>
            </a:r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А</a:t>
            </a:r>
            <a:endParaRPr lang="ru-RU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832B33D0-8D45-9F45-A1DB-01142CCA54CE}"/>
              </a:ext>
            </a:extLst>
          </p:cNvPr>
          <p:cNvSpPr/>
          <p:nvPr/>
        </p:nvSpPr>
        <p:spPr>
          <a:xfrm>
            <a:off x="1536491" y="1541557"/>
            <a:ext cx="5207209" cy="64633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marL="0" lvl="1"/>
            <a:r>
              <a:rPr lang="ru-RU" sz="1800" dirty="0">
                <a:solidFill>
                  <a:srgbClr val="000000"/>
                </a:solidFill>
                <a:latin typeface="Proxima Nova Rg" panose="02000506030000020004" pitchFamily="2" charset="0"/>
              </a:rPr>
              <a:t>Поддержка в развитии фермерства в регионах – </a:t>
            </a:r>
            <a:r>
              <a:rPr lang="ru-RU" sz="1800" b="1" dirty="0">
                <a:solidFill>
                  <a:srgbClr val="000000"/>
                </a:solidFill>
                <a:latin typeface="Proxima Nova Rg" panose="02000506030000020004" pitchFamily="2" charset="0"/>
              </a:rPr>
              <a:t>запуск новых МФХ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536491" y="2521207"/>
            <a:ext cx="7113381" cy="64633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r>
              <a:rPr lang="ru-RU" sz="1800" b="1" dirty="0">
                <a:solidFill>
                  <a:srgbClr val="000000"/>
                </a:solidFill>
                <a:latin typeface="Proxima Nova Rg" panose="02000506030000020004" pitchFamily="2" charset="0"/>
              </a:rPr>
              <a:t>Поддержка </a:t>
            </a:r>
            <a:r>
              <a:rPr lang="ru-RU" sz="1800" dirty="0">
                <a:solidFill>
                  <a:srgbClr val="000000"/>
                </a:solidFill>
                <a:latin typeface="Proxima Nova Rg" panose="02000506030000020004" pitchFamily="2" charset="0"/>
              </a:rPr>
              <a:t>проектов АПК </a:t>
            </a:r>
            <a:r>
              <a:rPr lang="ru-RU" sz="1800" b="1" dirty="0">
                <a:solidFill>
                  <a:srgbClr val="000000"/>
                </a:solidFill>
                <a:latin typeface="Proxima Nova Rg" panose="02000506030000020004" pitchFamily="2" charset="0"/>
              </a:rPr>
              <a:t>молодых предпринимателей</a:t>
            </a:r>
            <a:br>
              <a:rPr lang="ru-RU" sz="1800" b="1" dirty="0">
                <a:solidFill>
                  <a:srgbClr val="000000"/>
                </a:solidFill>
                <a:latin typeface="Proxima Nova Rg" panose="02000506030000020004" pitchFamily="2" charset="0"/>
              </a:rPr>
            </a:br>
            <a:r>
              <a:rPr lang="ru-RU" sz="1800" dirty="0">
                <a:solidFill>
                  <a:srgbClr val="000000"/>
                </a:solidFill>
                <a:latin typeface="Proxima Nova Rg" panose="02000506030000020004" pitchFamily="2" charset="0"/>
              </a:rPr>
              <a:t>на всех этапах развития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536491" y="3415924"/>
            <a:ext cx="6096000" cy="64633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r>
              <a:rPr lang="ru-RU" sz="1800" b="1" dirty="0">
                <a:solidFill>
                  <a:srgbClr val="000000"/>
                </a:solidFill>
                <a:latin typeface="Proxima Nova Rg" panose="02000506030000020004" pitchFamily="2" charset="0"/>
              </a:rPr>
              <a:t>Повышение финансовой </a:t>
            </a:r>
            <a:r>
              <a:rPr lang="ru-RU" sz="1800" b="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грамотности</a:t>
            </a:r>
            <a:br>
              <a:rPr lang="ru-RU" sz="1800" b="1" dirty="0" smtClean="0">
                <a:solidFill>
                  <a:srgbClr val="000000"/>
                </a:solidFill>
                <a:latin typeface="Proxima Nova Rg" panose="02000506030000020004" pitchFamily="2" charset="0"/>
              </a:rPr>
            </a:br>
            <a:r>
              <a:rPr lang="ru-RU" sz="18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действующих </a:t>
            </a:r>
            <a:r>
              <a:rPr lang="ru-RU" sz="1800" dirty="0">
                <a:solidFill>
                  <a:srgbClr val="000000"/>
                </a:solidFill>
                <a:latin typeface="Proxima Nova Rg" panose="02000506030000020004" pitchFamily="2" charset="0"/>
              </a:rPr>
              <a:t>фермеров</a:t>
            </a:r>
          </a:p>
        </p:txBody>
      </p:sp>
      <p:grpSp>
        <p:nvGrpSpPr>
          <p:cNvPr id="102" name="Group 207"/>
          <p:cNvGrpSpPr/>
          <p:nvPr/>
        </p:nvGrpSpPr>
        <p:grpSpPr>
          <a:xfrm>
            <a:off x="786467" y="3420280"/>
            <a:ext cx="456954" cy="637619"/>
            <a:chOff x="574675" y="1403350"/>
            <a:chExt cx="682625" cy="952500"/>
          </a:xfrm>
          <a:solidFill>
            <a:schemeClr val="tx1"/>
          </a:solidFill>
        </p:grpSpPr>
        <p:sp>
          <p:nvSpPr>
            <p:cNvPr id="103" name="Freeform 5"/>
            <p:cNvSpPr>
              <a:spLocks noEditPoints="1"/>
            </p:cNvSpPr>
            <p:nvPr/>
          </p:nvSpPr>
          <p:spPr bwMode="auto">
            <a:xfrm>
              <a:off x="914400" y="1481138"/>
              <a:ext cx="279400" cy="277813"/>
            </a:xfrm>
            <a:custGeom>
              <a:avLst/>
              <a:gdLst>
                <a:gd name="T0" fmla="*/ 1251 w 2503"/>
                <a:gd name="T1" fmla="*/ 2492 h 2492"/>
                <a:gd name="T2" fmla="*/ 2503 w 2503"/>
                <a:gd name="T3" fmla="*/ 1246 h 2492"/>
                <a:gd name="T4" fmla="*/ 1251 w 2503"/>
                <a:gd name="T5" fmla="*/ 0 h 2492"/>
                <a:gd name="T6" fmla="*/ 0 w 2503"/>
                <a:gd name="T7" fmla="*/ 1246 h 2492"/>
                <a:gd name="T8" fmla="*/ 1251 w 2503"/>
                <a:gd name="T9" fmla="*/ 2492 h 2492"/>
                <a:gd name="T10" fmla="*/ 1251 w 2503"/>
                <a:gd name="T11" fmla="*/ 250 h 2492"/>
                <a:gd name="T12" fmla="*/ 2253 w 2503"/>
                <a:gd name="T13" fmla="*/ 1246 h 2492"/>
                <a:gd name="T14" fmla="*/ 1251 w 2503"/>
                <a:gd name="T15" fmla="*/ 2242 h 2492"/>
                <a:gd name="T16" fmla="*/ 250 w 2503"/>
                <a:gd name="T17" fmla="*/ 1246 h 2492"/>
                <a:gd name="T18" fmla="*/ 1251 w 2503"/>
                <a:gd name="T19" fmla="*/ 250 h 2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3" h="2492">
                  <a:moveTo>
                    <a:pt x="1251" y="2492"/>
                  </a:moveTo>
                  <a:cubicBezTo>
                    <a:pt x="1941" y="2492"/>
                    <a:pt x="2503" y="1933"/>
                    <a:pt x="2503" y="1246"/>
                  </a:cubicBezTo>
                  <a:cubicBezTo>
                    <a:pt x="2503" y="559"/>
                    <a:pt x="1941" y="0"/>
                    <a:pt x="1251" y="0"/>
                  </a:cubicBezTo>
                  <a:cubicBezTo>
                    <a:pt x="561" y="0"/>
                    <a:pt x="0" y="559"/>
                    <a:pt x="0" y="1246"/>
                  </a:cubicBezTo>
                  <a:cubicBezTo>
                    <a:pt x="0" y="1933"/>
                    <a:pt x="561" y="2492"/>
                    <a:pt x="1251" y="2492"/>
                  </a:cubicBezTo>
                  <a:close/>
                  <a:moveTo>
                    <a:pt x="1251" y="250"/>
                  </a:moveTo>
                  <a:cubicBezTo>
                    <a:pt x="1804" y="250"/>
                    <a:pt x="2253" y="696"/>
                    <a:pt x="2253" y="1246"/>
                  </a:cubicBezTo>
                  <a:cubicBezTo>
                    <a:pt x="2253" y="1795"/>
                    <a:pt x="1804" y="2242"/>
                    <a:pt x="1251" y="2242"/>
                  </a:cubicBezTo>
                  <a:cubicBezTo>
                    <a:pt x="699" y="2242"/>
                    <a:pt x="250" y="1795"/>
                    <a:pt x="250" y="1246"/>
                  </a:cubicBezTo>
                  <a:cubicBezTo>
                    <a:pt x="250" y="696"/>
                    <a:pt x="699" y="250"/>
                    <a:pt x="1251" y="2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6"/>
            <p:cNvSpPr>
              <a:spLocks/>
            </p:cNvSpPr>
            <p:nvPr/>
          </p:nvSpPr>
          <p:spPr bwMode="auto">
            <a:xfrm>
              <a:off x="954088" y="1519238"/>
              <a:ext cx="198438" cy="200025"/>
            </a:xfrm>
            <a:custGeom>
              <a:avLst/>
              <a:gdLst>
                <a:gd name="T0" fmla="*/ 896 w 1789"/>
                <a:gd name="T1" fmla="*/ 1787 h 1787"/>
                <a:gd name="T2" fmla="*/ 1640 w 1789"/>
                <a:gd name="T3" fmla="*/ 1393 h 1787"/>
                <a:gd name="T4" fmla="*/ 1607 w 1789"/>
                <a:gd name="T5" fmla="*/ 1219 h 1787"/>
                <a:gd name="T6" fmla="*/ 1433 w 1789"/>
                <a:gd name="T7" fmla="*/ 1253 h 1787"/>
                <a:gd name="T8" fmla="*/ 896 w 1789"/>
                <a:gd name="T9" fmla="*/ 1537 h 1787"/>
                <a:gd name="T10" fmla="*/ 250 w 1789"/>
                <a:gd name="T11" fmla="*/ 894 h 1787"/>
                <a:gd name="T12" fmla="*/ 896 w 1789"/>
                <a:gd name="T13" fmla="*/ 250 h 1787"/>
                <a:gd name="T14" fmla="*/ 1530 w 1789"/>
                <a:gd name="T15" fmla="*/ 764 h 1787"/>
                <a:gd name="T16" fmla="*/ 1678 w 1789"/>
                <a:gd name="T17" fmla="*/ 862 h 1787"/>
                <a:gd name="T18" fmla="*/ 1775 w 1789"/>
                <a:gd name="T19" fmla="*/ 714 h 1787"/>
                <a:gd name="T20" fmla="*/ 896 w 1789"/>
                <a:gd name="T21" fmla="*/ 0 h 1787"/>
                <a:gd name="T22" fmla="*/ 0 w 1789"/>
                <a:gd name="T23" fmla="*/ 894 h 1787"/>
                <a:gd name="T24" fmla="*/ 896 w 1789"/>
                <a:gd name="T25" fmla="*/ 1787 h 1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9" h="1787">
                  <a:moveTo>
                    <a:pt x="896" y="1787"/>
                  </a:moveTo>
                  <a:cubicBezTo>
                    <a:pt x="1195" y="1787"/>
                    <a:pt x="1473" y="1640"/>
                    <a:pt x="1640" y="1393"/>
                  </a:cubicBezTo>
                  <a:cubicBezTo>
                    <a:pt x="1679" y="1336"/>
                    <a:pt x="1664" y="1258"/>
                    <a:pt x="1607" y="1219"/>
                  </a:cubicBezTo>
                  <a:cubicBezTo>
                    <a:pt x="1550" y="1180"/>
                    <a:pt x="1472" y="1195"/>
                    <a:pt x="1433" y="1253"/>
                  </a:cubicBezTo>
                  <a:cubicBezTo>
                    <a:pt x="1313" y="1431"/>
                    <a:pt x="1112" y="1537"/>
                    <a:pt x="896" y="1537"/>
                  </a:cubicBezTo>
                  <a:cubicBezTo>
                    <a:pt x="540" y="1537"/>
                    <a:pt x="250" y="1248"/>
                    <a:pt x="250" y="894"/>
                  </a:cubicBezTo>
                  <a:cubicBezTo>
                    <a:pt x="250" y="539"/>
                    <a:pt x="540" y="250"/>
                    <a:pt x="896" y="250"/>
                  </a:cubicBezTo>
                  <a:cubicBezTo>
                    <a:pt x="1203" y="250"/>
                    <a:pt x="1469" y="467"/>
                    <a:pt x="1530" y="764"/>
                  </a:cubicBezTo>
                  <a:cubicBezTo>
                    <a:pt x="1544" y="832"/>
                    <a:pt x="1610" y="876"/>
                    <a:pt x="1678" y="862"/>
                  </a:cubicBezTo>
                  <a:cubicBezTo>
                    <a:pt x="1746" y="848"/>
                    <a:pt x="1789" y="782"/>
                    <a:pt x="1775" y="714"/>
                  </a:cubicBezTo>
                  <a:cubicBezTo>
                    <a:pt x="1691" y="301"/>
                    <a:pt x="1321" y="0"/>
                    <a:pt x="896" y="0"/>
                  </a:cubicBezTo>
                  <a:cubicBezTo>
                    <a:pt x="402" y="0"/>
                    <a:pt x="0" y="401"/>
                    <a:pt x="0" y="894"/>
                  </a:cubicBezTo>
                  <a:cubicBezTo>
                    <a:pt x="0" y="1386"/>
                    <a:pt x="402" y="1787"/>
                    <a:pt x="896" y="17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7"/>
            <p:cNvSpPr>
              <a:spLocks/>
            </p:cNvSpPr>
            <p:nvPr/>
          </p:nvSpPr>
          <p:spPr bwMode="auto">
            <a:xfrm>
              <a:off x="1014413" y="1554163"/>
              <a:ext cx="77788" cy="131763"/>
            </a:xfrm>
            <a:custGeom>
              <a:avLst/>
              <a:gdLst>
                <a:gd name="T0" fmla="*/ 352 w 705"/>
                <a:gd name="T1" fmla="*/ 1185 h 1185"/>
                <a:gd name="T2" fmla="*/ 477 w 705"/>
                <a:gd name="T3" fmla="*/ 1060 h 1185"/>
                <a:gd name="T4" fmla="*/ 477 w 705"/>
                <a:gd name="T5" fmla="*/ 1024 h 1185"/>
                <a:gd name="T6" fmla="*/ 705 w 705"/>
                <a:gd name="T7" fmla="*/ 748 h 1185"/>
                <a:gd name="T8" fmla="*/ 423 w 705"/>
                <a:gd name="T9" fmla="*/ 468 h 1185"/>
                <a:gd name="T10" fmla="*/ 282 w 705"/>
                <a:gd name="T11" fmla="*/ 468 h 1185"/>
                <a:gd name="T12" fmla="*/ 250 w 705"/>
                <a:gd name="T13" fmla="*/ 437 h 1185"/>
                <a:gd name="T14" fmla="*/ 282 w 705"/>
                <a:gd name="T15" fmla="*/ 406 h 1185"/>
                <a:gd name="T16" fmla="*/ 505 w 705"/>
                <a:gd name="T17" fmla="*/ 406 h 1185"/>
                <a:gd name="T18" fmla="*/ 630 w 705"/>
                <a:gd name="T19" fmla="*/ 281 h 1185"/>
                <a:gd name="T20" fmla="*/ 505 w 705"/>
                <a:gd name="T21" fmla="*/ 156 h 1185"/>
                <a:gd name="T22" fmla="*/ 477 w 705"/>
                <a:gd name="T23" fmla="*/ 156 h 1185"/>
                <a:gd name="T24" fmla="*/ 477 w 705"/>
                <a:gd name="T25" fmla="*/ 125 h 1185"/>
                <a:gd name="T26" fmla="*/ 352 w 705"/>
                <a:gd name="T27" fmla="*/ 0 h 1185"/>
                <a:gd name="T28" fmla="*/ 227 w 705"/>
                <a:gd name="T29" fmla="*/ 125 h 1185"/>
                <a:gd name="T30" fmla="*/ 227 w 705"/>
                <a:gd name="T31" fmla="*/ 161 h 1185"/>
                <a:gd name="T32" fmla="*/ 0 w 705"/>
                <a:gd name="T33" fmla="*/ 437 h 1185"/>
                <a:gd name="T34" fmla="*/ 282 w 705"/>
                <a:gd name="T35" fmla="*/ 718 h 1185"/>
                <a:gd name="T36" fmla="*/ 423 w 705"/>
                <a:gd name="T37" fmla="*/ 718 h 1185"/>
                <a:gd name="T38" fmla="*/ 455 w 705"/>
                <a:gd name="T39" fmla="*/ 748 h 1185"/>
                <a:gd name="T40" fmla="*/ 423 w 705"/>
                <a:gd name="T41" fmla="*/ 779 h 1185"/>
                <a:gd name="T42" fmla="*/ 162 w 705"/>
                <a:gd name="T43" fmla="*/ 779 h 1185"/>
                <a:gd name="T44" fmla="*/ 37 w 705"/>
                <a:gd name="T45" fmla="*/ 904 h 1185"/>
                <a:gd name="T46" fmla="*/ 162 w 705"/>
                <a:gd name="T47" fmla="*/ 1029 h 1185"/>
                <a:gd name="T48" fmla="*/ 227 w 705"/>
                <a:gd name="T49" fmla="*/ 1029 h 1185"/>
                <a:gd name="T50" fmla="*/ 227 w 705"/>
                <a:gd name="T51" fmla="*/ 1060 h 1185"/>
                <a:gd name="T52" fmla="*/ 352 w 705"/>
                <a:gd name="T53" fmla="*/ 1185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5" h="1185">
                  <a:moveTo>
                    <a:pt x="352" y="1185"/>
                  </a:moveTo>
                  <a:cubicBezTo>
                    <a:pt x="421" y="1185"/>
                    <a:pt x="477" y="1129"/>
                    <a:pt x="477" y="1060"/>
                  </a:cubicBezTo>
                  <a:lnTo>
                    <a:pt x="477" y="1024"/>
                  </a:lnTo>
                  <a:cubicBezTo>
                    <a:pt x="607" y="998"/>
                    <a:pt x="705" y="885"/>
                    <a:pt x="705" y="748"/>
                  </a:cubicBezTo>
                  <a:cubicBezTo>
                    <a:pt x="705" y="594"/>
                    <a:pt x="578" y="468"/>
                    <a:pt x="423" y="468"/>
                  </a:cubicBezTo>
                  <a:lnTo>
                    <a:pt x="282" y="468"/>
                  </a:lnTo>
                  <a:cubicBezTo>
                    <a:pt x="264" y="468"/>
                    <a:pt x="250" y="454"/>
                    <a:pt x="250" y="437"/>
                  </a:cubicBezTo>
                  <a:cubicBezTo>
                    <a:pt x="250" y="420"/>
                    <a:pt x="264" y="406"/>
                    <a:pt x="282" y="406"/>
                  </a:cubicBezTo>
                  <a:lnTo>
                    <a:pt x="505" y="406"/>
                  </a:lnTo>
                  <a:cubicBezTo>
                    <a:pt x="574" y="406"/>
                    <a:pt x="630" y="350"/>
                    <a:pt x="630" y="281"/>
                  </a:cubicBezTo>
                  <a:cubicBezTo>
                    <a:pt x="630" y="212"/>
                    <a:pt x="574" y="156"/>
                    <a:pt x="505" y="156"/>
                  </a:cubicBezTo>
                  <a:lnTo>
                    <a:pt x="477" y="156"/>
                  </a:lnTo>
                  <a:lnTo>
                    <a:pt x="477" y="125"/>
                  </a:lnTo>
                  <a:cubicBezTo>
                    <a:pt x="477" y="56"/>
                    <a:pt x="421" y="0"/>
                    <a:pt x="352" y="0"/>
                  </a:cubicBezTo>
                  <a:cubicBezTo>
                    <a:pt x="283" y="0"/>
                    <a:pt x="227" y="56"/>
                    <a:pt x="227" y="125"/>
                  </a:cubicBezTo>
                  <a:lnTo>
                    <a:pt x="227" y="161"/>
                  </a:lnTo>
                  <a:cubicBezTo>
                    <a:pt x="98" y="187"/>
                    <a:pt x="0" y="301"/>
                    <a:pt x="0" y="437"/>
                  </a:cubicBezTo>
                  <a:cubicBezTo>
                    <a:pt x="0" y="592"/>
                    <a:pt x="126" y="718"/>
                    <a:pt x="282" y="718"/>
                  </a:cubicBezTo>
                  <a:lnTo>
                    <a:pt x="423" y="718"/>
                  </a:lnTo>
                  <a:cubicBezTo>
                    <a:pt x="441" y="718"/>
                    <a:pt x="455" y="731"/>
                    <a:pt x="455" y="748"/>
                  </a:cubicBezTo>
                  <a:cubicBezTo>
                    <a:pt x="455" y="765"/>
                    <a:pt x="441" y="779"/>
                    <a:pt x="423" y="779"/>
                  </a:cubicBezTo>
                  <a:lnTo>
                    <a:pt x="162" y="779"/>
                  </a:lnTo>
                  <a:cubicBezTo>
                    <a:pt x="93" y="779"/>
                    <a:pt x="37" y="835"/>
                    <a:pt x="37" y="904"/>
                  </a:cubicBezTo>
                  <a:cubicBezTo>
                    <a:pt x="37" y="973"/>
                    <a:pt x="93" y="1029"/>
                    <a:pt x="162" y="1029"/>
                  </a:cubicBezTo>
                  <a:lnTo>
                    <a:pt x="227" y="1029"/>
                  </a:lnTo>
                  <a:lnTo>
                    <a:pt x="227" y="1060"/>
                  </a:lnTo>
                  <a:cubicBezTo>
                    <a:pt x="227" y="1129"/>
                    <a:pt x="283" y="1185"/>
                    <a:pt x="352" y="11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8"/>
            <p:cNvSpPr>
              <a:spLocks noEditPoints="1"/>
            </p:cNvSpPr>
            <p:nvPr/>
          </p:nvSpPr>
          <p:spPr bwMode="auto">
            <a:xfrm>
              <a:off x="574675" y="1689100"/>
              <a:ext cx="682625" cy="666750"/>
            </a:xfrm>
            <a:custGeom>
              <a:avLst/>
              <a:gdLst>
                <a:gd name="T0" fmla="*/ 6107 w 6107"/>
                <a:gd name="T1" fmla="*/ 1675 h 5975"/>
                <a:gd name="T2" fmla="*/ 6024 w 6107"/>
                <a:gd name="T3" fmla="*/ 732 h 5975"/>
                <a:gd name="T4" fmla="*/ 5773 w 6107"/>
                <a:gd name="T5" fmla="*/ 773 h 5975"/>
                <a:gd name="T6" fmla="*/ 5606 w 6107"/>
                <a:gd name="T7" fmla="*/ 418 h 5975"/>
                <a:gd name="T8" fmla="*/ 3577 w 6107"/>
                <a:gd name="T9" fmla="*/ 1485 h 5975"/>
                <a:gd name="T10" fmla="*/ 2211 w 6107"/>
                <a:gd name="T11" fmla="*/ 0 h 5975"/>
                <a:gd name="T12" fmla="*/ 591 w 6107"/>
                <a:gd name="T13" fmla="*/ 442 h 5975"/>
                <a:gd name="T14" fmla="*/ 334 w 6107"/>
                <a:gd name="T15" fmla="*/ 596 h 5975"/>
                <a:gd name="T16" fmla="*/ 258 w 6107"/>
                <a:gd name="T17" fmla="*/ 733 h 5975"/>
                <a:gd name="T18" fmla="*/ 0 w 6107"/>
                <a:gd name="T19" fmla="*/ 886 h 5975"/>
                <a:gd name="T20" fmla="*/ 135 w 6107"/>
                <a:gd name="T21" fmla="*/ 4334 h 5975"/>
                <a:gd name="T22" fmla="*/ 836 w 6107"/>
                <a:gd name="T23" fmla="*/ 4720 h 5975"/>
                <a:gd name="T24" fmla="*/ 899 w 6107"/>
                <a:gd name="T25" fmla="*/ 4487 h 5975"/>
                <a:gd name="T26" fmla="*/ 250 w 6107"/>
                <a:gd name="T27" fmla="*/ 4099 h 5975"/>
                <a:gd name="T28" fmla="*/ 2921 w 6107"/>
                <a:gd name="T29" fmla="*/ 2450 h 5975"/>
                <a:gd name="T30" fmla="*/ 2928 w 6107"/>
                <a:gd name="T31" fmla="*/ 5658 h 5975"/>
                <a:gd name="T32" fmla="*/ 1228 w 6107"/>
                <a:gd name="T33" fmla="*/ 4821 h 5975"/>
                <a:gd name="T34" fmla="*/ 2919 w 6107"/>
                <a:gd name="T35" fmla="*/ 5942 h 5975"/>
                <a:gd name="T36" fmla="*/ 3188 w 6107"/>
                <a:gd name="T37" fmla="*/ 5942 h 5975"/>
                <a:gd name="T38" fmla="*/ 6107 w 6107"/>
                <a:gd name="T39" fmla="*/ 4101 h 5975"/>
                <a:gd name="T40" fmla="*/ 5982 w 6107"/>
                <a:gd name="T41" fmla="*/ 2150 h 5975"/>
                <a:gd name="T42" fmla="*/ 5857 w 6107"/>
                <a:gd name="T43" fmla="*/ 4099 h 5975"/>
                <a:gd name="T44" fmla="*/ 3178 w 6107"/>
                <a:gd name="T45" fmla="*/ 5658 h 5975"/>
                <a:gd name="T46" fmla="*/ 3186 w 6107"/>
                <a:gd name="T47" fmla="*/ 2450 h 5975"/>
                <a:gd name="T48" fmla="*/ 5857 w 6107"/>
                <a:gd name="T49" fmla="*/ 1675 h 5975"/>
                <a:gd name="T50" fmla="*/ 2211 w 6107"/>
                <a:gd name="T51" fmla="*/ 250 h 5975"/>
                <a:gd name="T52" fmla="*/ 3299 w 6107"/>
                <a:gd name="T53" fmla="*/ 1635 h 5975"/>
                <a:gd name="T54" fmla="*/ 3190 w 6107"/>
                <a:gd name="T55" fmla="*/ 1366 h 5975"/>
                <a:gd name="T56" fmla="*/ 1373 w 6107"/>
                <a:gd name="T57" fmla="*/ 863 h 5975"/>
                <a:gd name="T58" fmla="*/ 2211 w 6107"/>
                <a:gd name="T59" fmla="*/ 250 h 5975"/>
                <a:gd name="T60" fmla="*/ 2290 w 6107"/>
                <a:gd name="T61" fmla="*/ 1241 h 5975"/>
                <a:gd name="T62" fmla="*/ 2085 w 6107"/>
                <a:gd name="T63" fmla="*/ 1193 h 5975"/>
                <a:gd name="T64" fmla="*/ 2380 w 6107"/>
                <a:gd name="T65" fmla="*/ 1146 h 5975"/>
                <a:gd name="T66" fmla="*/ 2380 w 6107"/>
                <a:gd name="T67" fmla="*/ 896 h 5975"/>
                <a:gd name="T68" fmla="*/ 2336 w 6107"/>
                <a:gd name="T69" fmla="*/ 849 h 5975"/>
                <a:gd name="T70" fmla="*/ 2086 w 6107"/>
                <a:gd name="T71" fmla="*/ 849 h 5975"/>
                <a:gd name="T72" fmla="*/ 1845 w 6107"/>
                <a:gd name="T73" fmla="*/ 1117 h 5975"/>
                <a:gd name="T74" fmla="*/ 2211 w 6107"/>
                <a:gd name="T75" fmla="*/ 641 h 5975"/>
                <a:gd name="T76" fmla="*/ 2873 w 6107"/>
                <a:gd name="T77" fmla="*/ 1670 h 5975"/>
                <a:gd name="T78" fmla="*/ 3069 w 6107"/>
                <a:gd name="T79" fmla="*/ 2229 h 5975"/>
                <a:gd name="T80" fmla="*/ 584 w 6107"/>
                <a:gd name="T81" fmla="*/ 908 h 5975"/>
                <a:gd name="T82" fmla="*/ 2921 w 6107"/>
                <a:gd name="T83" fmla="*/ 1980 h 5975"/>
                <a:gd name="T84" fmla="*/ 3186 w 6107"/>
                <a:gd name="T85" fmla="*/ 1980 h 5975"/>
                <a:gd name="T86" fmla="*/ 5523 w 6107"/>
                <a:gd name="T87" fmla="*/ 908 h 5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107" h="5975">
                  <a:moveTo>
                    <a:pt x="5982" y="1800"/>
                  </a:moveTo>
                  <a:cubicBezTo>
                    <a:pt x="6051" y="1800"/>
                    <a:pt x="6107" y="1744"/>
                    <a:pt x="6107" y="1675"/>
                  </a:cubicBezTo>
                  <a:lnTo>
                    <a:pt x="6107" y="886"/>
                  </a:lnTo>
                  <a:cubicBezTo>
                    <a:pt x="6107" y="820"/>
                    <a:pt x="6076" y="763"/>
                    <a:pt x="6024" y="732"/>
                  </a:cubicBezTo>
                  <a:cubicBezTo>
                    <a:pt x="5972" y="701"/>
                    <a:pt x="5907" y="701"/>
                    <a:pt x="5849" y="733"/>
                  </a:cubicBezTo>
                  <a:lnTo>
                    <a:pt x="5773" y="773"/>
                  </a:lnTo>
                  <a:lnTo>
                    <a:pt x="5773" y="596"/>
                  </a:lnTo>
                  <a:cubicBezTo>
                    <a:pt x="5773" y="495"/>
                    <a:pt x="5701" y="418"/>
                    <a:pt x="5606" y="418"/>
                  </a:cubicBezTo>
                  <a:cubicBezTo>
                    <a:pt x="5575" y="418"/>
                    <a:pt x="5545" y="426"/>
                    <a:pt x="5515" y="442"/>
                  </a:cubicBezTo>
                  <a:lnTo>
                    <a:pt x="3577" y="1485"/>
                  </a:lnTo>
                  <a:cubicBezTo>
                    <a:pt x="3580" y="1446"/>
                    <a:pt x="3583" y="1406"/>
                    <a:pt x="3583" y="1366"/>
                  </a:cubicBezTo>
                  <a:cubicBezTo>
                    <a:pt x="3583" y="613"/>
                    <a:pt x="2967" y="0"/>
                    <a:pt x="2211" y="0"/>
                  </a:cubicBezTo>
                  <a:cubicBezTo>
                    <a:pt x="1707" y="0"/>
                    <a:pt x="1266" y="273"/>
                    <a:pt x="1028" y="677"/>
                  </a:cubicBezTo>
                  <a:lnTo>
                    <a:pt x="591" y="442"/>
                  </a:lnTo>
                  <a:cubicBezTo>
                    <a:pt x="562" y="426"/>
                    <a:pt x="532" y="418"/>
                    <a:pt x="501" y="418"/>
                  </a:cubicBezTo>
                  <a:cubicBezTo>
                    <a:pt x="405" y="418"/>
                    <a:pt x="334" y="494"/>
                    <a:pt x="334" y="596"/>
                  </a:cubicBezTo>
                  <a:lnTo>
                    <a:pt x="334" y="773"/>
                  </a:lnTo>
                  <a:lnTo>
                    <a:pt x="258" y="733"/>
                  </a:lnTo>
                  <a:cubicBezTo>
                    <a:pt x="200" y="701"/>
                    <a:pt x="134" y="701"/>
                    <a:pt x="82" y="732"/>
                  </a:cubicBezTo>
                  <a:cubicBezTo>
                    <a:pt x="31" y="763"/>
                    <a:pt x="0" y="820"/>
                    <a:pt x="0" y="886"/>
                  </a:cubicBezTo>
                  <a:lnTo>
                    <a:pt x="0" y="4101"/>
                  </a:lnTo>
                  <a:cubicBezTo>
                    <a:pt x="0" y="4191"/>
                    <a:pt x="57" y="4289"/>
                    <a:pt x="135" y="4334"/>
                  </a:cubicBezTo>
                  <a:lnTo>
                    <a:pt x="774" y="4703"/>
                  </a:lnTo>
                  <a:cubicBezTo>
                    <a:pt x="794" y="4715"/>
                    <a:pt x="815" y="4720"/>
                    <a:pt x="836" y="4720"/>
                  </a:cubicBezTo>
                  <a:cubicBezTo>
                    <a:pt x="880" y="4720"/>
                    <a:pt x="922" y="4698"/>
                    <a:pt x="945" y="4658"/>
                  </a:cubicBezTo>
                  <a:cubicBezTo>
                    <a:pt x="979" y="4598"/>
                    <a:pt x="959" y="4521"/>
                    <a:pt x="899" y="4487"/>
                  </a:cubicBezTo>
                  <a:lnTo>
                    <a:pt x="261" y="4119"/>
                  </a:lnTo>
                  <a:cubicBezTo>
                    <a:pt x="257" y="4115"/>
                    <a:pt x="251" y="4105"/>
                    <a:pt x="250" y="4099"/>
                  </a:cubicBezTo>
                  <a:lnTo>
                    <a:pt x="250" y="1012"/>
                  </a:lnTo>
                  <a:lnTo>
                    <a:pt x="2921" y="2450"/>
                  </a:lnTo>
                  <a:cubicBezTo>
                    <a:pt x="2923" y="2451"/>
                    <a:pt x="2926" y="2452"/>
                    <a:pt x="2928" y="2453"/>
                  </a:cubicBezTo>
                  <a:lnTo>
                    <a:pt x="2928" y="5658"/>
                  </a:lnTo>
                  <a:lnTo>
                    <a:pt x="1399" y="4776"/>
                  </a:lnTo>
                  <a:cubicBezTo>
                    <a:pt x="1339" y="4741"/>
                    <a:pt x="1263" y="4762"/>
                    <a:pt x="1228" y="4821"/>
                  </a:cubicBezTo>
                  <a:cubicBezTo>
                    <a:pt x="1194" y="4881"/>
                    <a:pt x="1214" y="4958"/>
                    <a:pt x="1274" y="4992"/>
                  </a:cubicBezTo>
                  <a:lnTo>
                    <a:pt x="2919" y="5942"/>
                  </a:lnTo>
                  <a:cubicBezTo>
                    <a:pt x="2958" y="5964"/>
                    <a:pt x="3005" y="5975"/>
                    <a:pt x="3053" y="5975"/>
                  </a:cubicBezTo>
                  <a:cubicBezTo>
                    <a:pt x="3101" y="5975"/>
                    <a:pt x="3149" y="5964"/>
                    <a:pt x="3188" y="5942"/>
                  </a:cubicBezTo>
                  <a:lnTo>
                    <a:pt x="5972" y="4334"/>
                  </a:lnTo>
                  <a:cubicBezTo>
                    <a:pt x="6050" y="4289"/>
                    <a:pt x="6107" y="4191"/>
                    <a:pt x="6107" y="4101"/>
                  </a:cubicBezTo>
                  <a:lnTo>
                    <a:pt x="6107" y="2275"/>
                  </a:lnTo>
                  <a:cubicBezTo>
                    <a:pt x="6107" y="2206"/>
                    <a:pt x="6051" y="2150"/>
                    <a:pt x="5982" y="2150"/>
                  </a:cubicBezTo>
                  <a:cubicBezTo>
                    <a:pt x="5912" y="2150"/>
                    <a:pt x="5857" y="2206"/>
                    <a:pt x="5857" y="2275"/>
                  </a:cubicBezTo>
                  <a:lnTo>
                    <a:pt x="5857" y="4099"/>
                  </a:lnTo>
                  <a:cubicBezTo>
                    <a:pt x="5855" y="4105"/>
                    <a:pt x="5850" y="4115"/>
                    <a:pt x="5845" y="4119"/>
                  </a:cubicBezTo>
                  <a:lnTo>
                    <a:pt x="3178" y="5658"/>
                  </a:lnTo>
                  <a:lnTo>
                    <a:pt x="3178" y="2453"/>
                  </a:lnTo>
                  <a:cubicBezTo>
                    <a:pt x="3181" y="2452"/>
                    <a:pt x="3183" y="2451"/>
                    <a:pt x="3186" y="2450"/>
                  </a:cubicBezTo>
                  <a:lnTo>
                    <a:pt x="5857" y="1012"/>
                  </a:lnTo>
                  <a:lnTo>
                    <a:pt x="5857" y="1675"/>
                  </a:lnTo>
                  <a:cubicBezTo>
                    <a:pt x="5857" y="1744"/>
                    <a:pt x="5912" y="1800"/>
                    <a:pt x="5982" y="1800"/>
                  </a:cubicBezTo>
                  <a:close/>
                  <a:moveTo>
                    <a:pt x="2211" y="250"/>
                  </a:moveTo>
                  <a:cubicBezTo>
                    <a:pt x="2829" y="250"/>
                    <a:pt x="3333" y="751"/>
                    <a:pt x="3333" y="1366"/>
                  </a:cubicBezTo>
                  <a:cubicBezTo>
                    <a:pt x="3333" y="1459"/>
                    <a:pt x="3321" y="1549"/>
                    <a:pt x="3299" y="1635"/>
                  </a:cubicBezTo>
                  <a:lnTo>
                    <a:pt x="3118" y="1732"/>
                  </a:lnTo>
                  <a:cubicBezTo>
                    <a:pt x="3165" y="1619"/>
                    <a:pt x="3190" y="1495"/>
                    <a:pt x="3190" y="1366"/>
                  </a:cubicBezTo>
                  <a:cubicBezTo>
                    <a:pt x="3190" y="828"/>
                    <a:pt x="2751" y="391"/>
                    <a:pt x="2211" y="391"/>
                  </a:cubicBezTo>
                  <a:cubicBezTo>
                    <a:pt x="1856" y="391"/>
                    <a:pt x="1545" y="580"/>
                    <a:pt x="1373" y="863"/>
                  </a:cubicBezTo>
                  <a:lnTo>
                    <a:pt x="1248" y="796"/>
                  </a:lnTo>
                  <a:cubicBezTo>
                    <a:pt x="1444" y="469"/>
                    <a:pt x="1802" y="250"/>
                    <a:pt x="2211" y="250"/>
                  </a:cubicBezTo>
                  <a:close/>
                  <a:moveTo>
                    <a:pt x="2587" y="1516"/>
                  </a:moveTo>
                  <a:cubicBezTo>
                    <a:pt x="2575" y="1362"/>
                    <a:pt x="2446" y="1241"/>
                    <a:pt x="2290" y="1241"/>
                  </a:cubicBezTo>
                  <a:lnTo>
                    <a:pt x="2133" y="1241"/>
                  </a:lnTo>
                  <a:cubicBezTo>
                    <a:pt x="2106" y="1241"/>
                    <a:pt x="2085" y="1219"/>
                    <a:pt x="2085" y="1193"/>
                  </a:cubicBezTo>
                  <a:cubicBezTo>
                    <a:pt x="2085" y="1167"/>
                    <a:pt x="2106" y="1146"/>
                    <a:pt x="2133" y="1146"/>
                  </a:cubicBezTo>
                  <a:lnTo>
                    <a:pt x="2380" y="1146"/>
                  </a:lnTo>
                  <a:cubicBezTo>
                    <a:pt x="2449" y="1146"/>
                    <a:pt x="2505" y="1090"/>
                    <a:pt x="2505" y="1021"/>
                  </a:cubicBezTo>
                  <a:cubicBezTo>
                    <a:pt x="2505" y="952"/>
                    <a:pt x="2449" y="896"/>
                    <a:pt x="2380" y="896"/>
                  </a:cubicBezTo>
                  <a:lnTo>
                    <a:pt x="2336" y="896"/>
                  </a:lnTo>
                  <a:lnTo>
                    <a:pt x="2336" y="849"/>
                  </a:lnTo>
                  <a:cubicBezTo>
                    <a:pt x="2336" y="780"/>
                    <a:pt x="2280" y="724"/>
                    <a:pt x="2211" y="724"/>
                  </a:cubicBezTo>
                  <a:cubicBezTo>
                    <a:pt x="2142" y="724"/>
                    <a:pt x="2086" y="780"/>
                    <a:pt x="2086" y="849"/>
                  </a:cubicBezTo>
                  <a:lnTo>
                    <a:pt x="2086" y="900"/>
                  </a:lnTo>
                  <a:cubicBezTo>
                    <a:pt x="1969" y="919"/>
                    <a:pt x="1875" y="1005"/>
                    <a:pt x="1845" y="1117"/>
                  </a:cubicBezTo>
                  <a:lnTo>
                    <a:pt x="1593" y="981"/>
                  </a:lnTo>
                  <a:cubicBezTo>
                    <a:pt x="1723" y="777"/>
                    <a:pt x="1951" y="641"/>
                    <a:pt x="2211" y="641"/>
                  </a:cubicBezTo>
                  <a:cubicBezTo>
                    <a:pt x="2613" y="641"/>
                    <a:pt x="2940" y="966"/>
                    <a:pt x="2940" y="1366"/>
                  </a:cubicBezTo>
                  <a:cubicBezTo>
                    <a:pt x="2940" y="1474"/>
                    <a:pt x="2916" y="1577"/>
                    <a:pt x="2873" y="1670"/>
                  </a:cubicBezTo>
                  <a:lnTo>
                    <a:pt x="2587" y="1516"/>
                  </a:lnTo>
                  <a:close/>
                  <a:moveTo>
                    <a:pt x="3069" y="2229"/>
                  </a:moveTo>
                  <a:cubicBezTo>
                    <a:pt x="3062" y="2232"/>
                    <a:pt x="3045" y="2232"/>
                    <a:pt x="3039" y="2230"/>
                  </a:cubicBezTo>
                  <a:lnTo>
                    <a:pt x="584" y="908"/>
                  </a:lnTo>
                  <a:lnTo>
                    <a:pt x="584" y="722"/>
                  </a:lnTo>
                  <a:lnTo>
                    <a:pt x="2921" y="1980"/>
                  </a:lnTo>
                  <a:cubicBezTo>
                    <a:pt x="2969" y="2005"/>
                    <a:pt x="3019" y="2011"/>
                    <a:pt x="3053" y="2011"/>
                  </a:cubicBezTo>
                  <a:cubicBezTo>
                    <a:pt x="3087" y="2011"/>
                    <a:pt x="3138" y="2005"/>
                    <a:pt x="3186" y="1980"/>
                  </a:cubicBezTo>
                  <a:lnTo>
                    <a:pt x="5523" y="722"/>
                  </a:lnTo>
                  <a:lnTo>
                    <a:pt x="5523" y="908"/>
                  </a:lnTo>
                  <a:lnTo>
                    <a:pt x="3069" y="22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9"/>
            <p:cNvSpPr>
              <a:spLocks noEditPoints="1"/>
            </p:cNvSpPr>
            <p:nvPr/>
          </p:nvSpPr>
          <p:spPr bwMode="auto">
            <a:xfrm>
              <a:off x="976313" y="1892300"/>
              <a:ext cx="206375" cy="236538"/>
            </a:xfrm>
            <a:custGeom>
              <a:avLst/>
              <a:gdLst>
                <a:gd name="T0" fmla="*/ 1587 w 1845"/>
                <a:gd name="T1" fmla="*/ 23 h 2122"/>
                <a:gd name="T2" fmla="*/ 139 w 1845"/>
                <a:gd name="T3" fmla="*/ 803 h 2122"/>
                <a:gd name="T4" fmla="*/ 0 w 1845"/>
                <a:gd name="T5" fmla="*/ 1036 h 2122"/>
                <a:gd name="T6" fmla="*/ 0 w 1845"/>
                <a:gd name="T7" fmla="*/ 1945 h 2122"/>
                <a:gd name="T8" fmla="*/ 167 w 1845"/>
                <a:gd name="T9" fmla="*/ 2122 h 2122"/>
                <a:gd name="T10" fmla="*/ 167 w 1845"/>
                <a:gd name="T11" fmla="*/ 2122 h 2122"/>
                <a:gd name="T12" fmla="*/ 258 w 1845"/>
                <a:gd name="T13" fmla="*/ 2099 h 2122"/>
                <a:gd name="T14" fmla="*/ 1706 w 1845"/>
                <a:gd name="T15" fmla="*/ 1319 h 2122"/>
                <a:gd name="T16" fmla="*/ 1845 w 1845"/>
                <a:gd name="T17" fmla="*/ 1086 h 2122"/>
                <a:gd name="T18" fmla="*/ 1845 w 1845"/>
                <a:gd name="T19" fmla="*/ 177 h 2122"/>
                <a:gd name="T20" fmla="*/ 1678 w 1845"/>
                <a:gd name="T21" fmla="*/ 0 h 2122"/>
                <a:gd name="T22" fmla="*/ 1587 w 1845"/>
                <a:gd name="T23" fmla="*/ 23 h 2122"/>
                <a:gd name="T24" fmla="*/ 1595 w 1845"/>
                <a:gd name="T25" fmla="*/ 1084 h 2122"/>
                <a:gd name="T26" fmla="*/ 1585 w 1845"/>
                <a:gd name="T27" fmla="*/ 1100 h 2122"/>
                <a:gd name="T28" fmla="*/ 250 w 1845"/>
                <a:gd name="T29" fmla="*/ 1819 h 2122"/>
                <a:gd name="T30" fmla="*/ 250 w 1845"/>
                <a:gd name="T31" fmla="*/ 1038 h 2122"/>
                <a:gd name="T32" fmla="*/ 259 w 1845"/>
                <a:gd name="T33" fmla="*/ 1022 h 2122"/>
                <a:gd name="T34" fmla="*/ 1595 w 1845"/>
                <a:gd name="T35" fmla="*/ 303 h 2122"/>
                <a:gd name="T36" fmla="*/ 1595 w 1845"/>
                <a:gd name="T37" fmla="*/ 1084 h 2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5" h="2122">
                  <a:moveTo>
                    <a:pt x="1587" y="23"/>
                  </a:moveTo>
                  <a:lnTo>
                    <a:pt x="139" y="803"/>
                  </a:lnTo>
                  <a:cubicBezTo>
                    <a:pt x="58" y="846"/>
                    <a:pt x="0" y="944"/>
                    <a:pt x="0" y="1036"/>
                  </a:cubicBezTo>
                  <a:lnTo>
                    <a:pt x="0" y="1945"/>
                  </a:lnTo>
                  <a:cubicBezTo>
                    <a:pt x="0" y="2046"/>
                    <a:pt x="72" y="2122"/>
                    <a:pt x="167" y="2122"/>
                  </a:cubicBezTo>
                  <a:lnTo>
                    <a:pt x="167" y="2122"/>
                  </a:lnTo>
                  <a:cubicBezTo>
                    <a:pt x="198" y="2122"/>
                    <a:pt x="228" y="2114"/>
                    <a:pt x="258" y="2099"/>
                  </a:cubicBezTo>
                  <a:lnTo>
                    <a:pt x="1706" y="1319"/>
                  </a:lnTo>
                  <a:cubicBezTo>
                    <a:pt x="1786" y="1276"/>
                    <a:pt x="1845" y="1178"/>
                    <a:pt x="1845" y="1086"/>
                  </a:cubicBezTo>
                  <a:lnTo>
                    <a:pt x="1845" y="177"/>
                  </a:lnTo>
                  <a:cubicBezTo>
                    <a:pt x="1845" y="76"/>
                    <a:pt x="1773" y="0"/>
                    <a:pt x="1678" y="0"/>
                  </a:cubicBezTo>
                  <a:cubicBezTo>
                    <a:pt x="1647" y="0"/>
                    <a:pt x="1617" y="8"/>
                    <a:pt x="1587" y="23"/>
                  </a:cubicBezTo>
                  <a:close/>
                  <a:moveTo>
                    <a:pt x="1595" y="1084"/>
                  </a:moveTo>
                  <a:cubicBezTo>
                    <a:pt x="1594" y="1089"/>
                    <a:pt x="1589" y="1097"/>
                    <a:pt x="1585" y="1100"/>
                  </a:cubicBezTo>
                  <a:lnTo>
                    <a:pt x="250" y="1819"/>
                  </a:lnTo>
                  <a:lnTo>
                    <a:pt x="250" y="1038"/>
                  </a:lnTo>
                  <a:cubicBezTo>
                    <a:pt x="251" y="1033"/>
                    <a:pt x="256" y="1025"/>
                    <a:pt x="259" y="1022"/>
                  </a:cubicBezTo>
                  <a:lnTo>
                    <a:pt x="1595" y="303"/>
                  </a:lnTo>
                  <a:lnTo>
                    <a:pt x="1595" y="10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0"/>
            <p:cNvSpPr>
              <a:spLocks noEditPoints="1"/>
            </p:cNvSpPr>
            <p:nvPr/>
          </p:nvSpPr>
          <p:spPr bwMode="auto">
            <a:xfrm>
              <a:off x="774700" y="1403350"/>
              <a:ext cx="149225" cy="149225"/>
            </a:xfrm>
            <a:custGeom>
              <a:avLst/>
              <a:gdLst>
                <a:gd name="T0" fmla="*/ 164 w 1339"/>
                <a:gd name="T1" fmla="*/ 879 h 1339"/>
                <a:gd name="T2" fmla="*/ 379 w 1339"/>
                <a:gd name="T3" fmla="*/ 960 h 1339"/>
                <a:gd name="T4" fmla="*/ 461 w 1339"/>
                <a:gd name="T5" fmla="*/ 1176 h 1339"/>
                <a:gd name="T6" fmla="*/ 669 w 1339"/>
                <a:gd name="T7" fmla="*/ 1339 h 1339"/>
                <a:gd name="T8" fmla="*/ 878 w 1339"/>
                <a:gd name="T9" fmla="*/ 1176 h 1339"/>
                <a:gd name="T10" fmla="*/ 960 w 1339"/>
                <a:gd name="T11" fmla="*/ 960 h 1339"/>
                <a:gd name="T12" fmla="*/ 1175 w 1339"/>
                <a:gd name="T13" fmla="*/ 879 h 1339"/>
                <a:gd name="T14" fmla="*/ 1339 w 1339"/>
                <a:gd name="T15" fmla="*/ 670 h 1339"/>
                <a:gd name="T16" fmla="*/ 1175 w 1339"/>
                <a:gd name="T17" fmla="*/ 461 h 1339"/>
                <a:gd name="T18" fmla="*/ 960 w 1339"/>
                <a:gd name="T19" fmla="*/ 380 h 1339"/>
                <a:gd name="T20" fmla="*/ 878 w 1339"/>
                <a:gd name="T21" fmla="*/ 164 h 1339"/>
                <a:gd name="T22" fmla="*/ 669 w 1339"/>
                <a:gd name="T23" fmla="*/ 0 h 1339"/>
                <a:gd name="T24" fmla="*/ 461 w 1339"/>
                <a:gd name="T25" fmla="*/ 164 h 1339"/>
                <a:gd name="T26" fmla="*/ 379 w 1339"/>
                <a:gd name="T27" fmla="*/ 380 h 1339"/>
                <a:gd name="T28" fmla="*/ 164 w 1339"/>
                <a:gd name="T29" fmla="*/ 461 h 1339"/>
                <a:gd name="T30" fmla="*/ 0 w 1339"/>
                <a:gd name="T31" fmla="*/ 670 h 1339"/>
                <a:gd name="T32" fmla="*/ 164 w 1339"/>
                <a:gd name="T33" fmla="*/ 879 h 1339"/>
                <a:gd name="T34" fmla="*/ 669 w 1339"/>
                <a:gd name="T35" fmla="*/ 347 h 1339"/>
                <a:gd name="T36" fmla="*/ 992 w 1339"/>
                <a:gd name="T37" fmla="*/ 670 h 1339"/>
                <a:gd name="T38" fmla="*/ 669 w 1339"/>
                <a:gd name="T39" fmla="*/ 993 h 1339"/>
                <a:gd name="T40" fmla="*/ 347 w 1339"/>
                <a:gd name="T41" fmla="*/ 670 h 1339"/>
                <a:gd name="T42" fmla="*/ 669 w 1339"/>
                <a:gd name="T43" fmla="*/ 347 h 1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39" h="1339">
                  <a:moveTo>
                    <a:pt x="164" y="879"/>
                  </a:moveTo>
                  <a:cubicBezTo>
                    <a:pt x="279" y="907"/>
                    <a:pt x="348" y="928"/>
                    <a:pt x="379" y="960"/>
                  </a:cubicBezTo>
                  <a:cubicBezTo>
                    <a:pt x="411" y="991"/>
                    <a:pt x="432" y="1060"/>
                    <a:pt x="461" y="1176"/>
                  </a:cubicBezTo>
                  <a:cubicBezTo>
                    <a:pt x="484" y="1272"/>
                    <a:pt x="570" y="1339"/>
                    <a:pt x="669" y="1339"/>
                  </a:cubicBezTo>
                  <a:cubicBezTo>
                    <a:pt x="769" y="1339"/>
                    <a:pt x="855" y="1272"/>
                    <a:pt x="878" y="1176"/>
                  </a:cubicBezTo>
                  <a:cubicBezTo>
                    <a:pt x="907" y="1060"/>
                    <a:pt x="928" y="991"/>
                    <a:pt x="960" y="960"/>
                  </a:cubicBezTo>
                  <a:cubicBezTo>
                    <a:pt x="991" y="928"/>
                    <a:pt x="1060" y="907"/>
                    <a:pt x="1175" y="879"/>
                  </a:cubicBezTo>
                  <a:cubicBezTo>
                    <a:pt x="1272" y="855"/>
                    <a:pt x="1339" y="769"/>
                    <a:pt x="1339" y="670"/>
                  </a:cubicBezTo>
                  <a:cubicBezTo>
                    <a:pt x="1339" y="570"/>
                    <a:pt x="1272" y="484"/>
                    <a:pt x="1175" y="461"/>
                  </a:cubicBezTo>
                  <a:cubicBezTo>
                    <a:pt x="1060" y="433"/>
                    <a:pt x="991" y="411"/>
                    <a:pt x="960" y="380"/>
                  </a:cubicBezTo>
                  <a:cubicBezTo>
                    <a:pt x="928" y="348"/>
                    <a:pt x="907" y="280"/>
                    <a:pt x="878" y="164"/>
                  </a:cubicBezTo>
                  <a:cubicBezTo>
                    <a:pt x="855" y="67"/>
                    <a:pt x="769" y="0"/>
                    <a:pt x="669" y="0"/>
                  </a:cubicBezTo>
                  <a:cubicBezTo>
                    <a:pt x="570" y="0"/>
                    <a:pt x="484" y="67"/>
                    <a:pt x="461" y="164"/>
                  </a:cubicBezTo>
                  <a:cubicBezTo>
                    <a:pt x="432" y="280"/>
                    <a:pt x="411" y="348"/>
                    <a:pt x="379" y="380"/>
                  </a:cubicBezTo>
                  <a:cubicBezTo>
                    <a:pt x="348" y="411"/>
                    <a:pt x="279" y="433"/>
                    <a:pt x="164" y="461"/>
                  </a:cubicBezTo>
                  <a:cubicBezTo>
                    <a:pt x="67" y="485"/>
                    <a:pt x="0" y="570"/>
                    <a:pt x="0" y="670"/>
                  </a:cubicBezTo>
                  <a:cubicBezTo>
                    <a:pt x="0" y="769"/>
                    <a:pt x="67" y="855"/>
                    <a:pt x="164" y="879"/>
                  </a:cubicBezTo>
                  <a:close/>
                  <a:moveTo>
                    <a:pt x="669" y="347"/>
                  </a:moveTo>
                  <a:cubicBezTo>
                    <a:pt x="729" y="535"/>
                    <a:pt x="804" y="610"/>
                    <a:pt x="992" y="670"/>
                  </a:cubicBezTo>
                  <a:cubicBezTo>
                    <a:pt x="804" y="730"/>
                    <a:pt x="729" y="804"/>
                    <a:pt x="669" y="993"/>
                  </a:cubicBezTo>
                  <a:cubicBezTo>
                    <a:pt x="610" y="804"/>
                    <a:pt x="535" y="730"/>
                    <a:pt x="347" y="670"/>
                  </a:cubicBezTo>
                  <a:cubicBezTo>
                    <a:pt x="535" y="610"/>
                    <a:pt x="610" y="535"/>
                    <a:pt x="669" y="3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1"/>
            <p:cNvSpPr>
              <a:spLocks noEditPoints="1"/>
            </p:cNvSpPr>
            <p:nvPr/>
          </p:nvSpPr>
          <p:spPr bwMode="auto">
            <a:xfrm>
              <a:off x="603250" y="1497013"/>
              <a:ext cx="192088" cy="192088"/>
            </a:xfrm>
            <a:custGeom>
              <a:avLst/>
              <a:gdLst>
                <a:gd name="T0" fmla="*/ 188 w 1719"/>
                <a:gd name="T1" fmla="*/ 1099 h 1719"/>
                <a:gd name="T2" fmla="*/ 620 w 1719"/>
                <a:gd name="T3" fmla="*/ 1531 h 1719"/>
                <a:gd name="T4" fmla="*/ 860 w 1719"/>
                <a:gd name="T5" fmla="*/ 1719 h 1719"/>
                <a:gd name="T6" fmla="*/ 1099 w 1719"/>
                <a:gd name="T7" fmla="*/ 1531 h 1719"/>
                <a:gd name="T8" fmla="*/ 1531 w 1719"/>
                <a:gd name="T9" fmla="*/ 1099 h 1719"/>
                <a:gd name="T10" fmla="*/ 1719 w 1719"/>
                <a:gd name="T11" fmla="*/ 859 h 1719"/>
                <a:gd name="T12" fmla="*/ 1531 w 1719"/>
                <a:gd name="T13" fmla="*/ 620 h 1719"/>
                <a:gd name="T14" fmla="*/ 1099 w 1719"/>
                <a:gd name="T15" fmla="*/ 188 h 1719"/>
                <a:gd name="T16" fmla="*/ 860 w 1719"/>
                <a:gd name="T17" fmla="*/ 0 h 1719"/>
                <a:gd name="T18" fmla="*/ 620 w 1719"/>
                <a:gd name="T19" fmla="*/ 188 h 1719"/>
                <a:gd name="T20" fmla="*/ 188 w 1719"/>
                <a:gd name="T21" fmla="*/ 620 h 1719"/>
                <a:gd name="T22" fmla="*/ 0 w 1719"/>
                <a:gd name="T23" fmla="*/ 859 h 1719"/>
                <a:gd name="T24" fmla="*/ 188 w 1719"/>
                <a:gd name="T25" fmla="*/ 1099 h 1719"/>
                <a:gd name="T26" fmla="*/ 860 w 1719"/>
                <a:gd name="T27" fmla="*/ 261 h 1719"/>
                <a:gd name="T28" fmla="*/ 1458 w 1719"/>
                <a:gd name="T29" fmla="*/ 859 h 1719"/>
                <a:gd name="T30" fmla="*/ 860 w 1719"/>
                <a:gd name="T31" fmla="*/ 1457 h 1719"/>
                <a:gd name="T32" fmla="*/ 261 w 1719"/>
                <a:gd name="T33" fmla="*/ 859 h 1719"/>
                <a:gd name="T34" fmla="*/ 860 w 1719"/>
                <a:gd name="T35" fmla="*/ 261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9" h="1719">
                  <a:moveTo>
                    <a:pt x="188" y="1099"/>
                  </a:moveTo>
                  <a:cubicBezTo>
                    <a:pt x="525" y="1181"/>
                    <a:pt x="538" y="1193"/>
                    <a:pt x="620" y="1531"/>
                  </a:cubicBezTo>
                  <a:cubicBezTo>
                    <a:pt x="647" y="1641"/>
                    <a:pt x="746" y="1719"/>
                    <a:pt x="860" y="1719"/>
                  </a:cubicBezTo>
                  <a:cubicBezTo>
                    <a:pt x="973" y="1719"/>
                    <a:pt x="1072" y="1642"/>
                    <a:pt x="1099" y="1531"/>
                  </a:cubicBezTo>
                  <a:cubicBezTo>
                    <a:pt x="1182" y="1193"/>
                    <a:pt x="1194" y="1181"/>
                    <a:pt x="1531" y="1099"/>
                  </a:cubicBezTo>
                  <a:cubicBezTo>
                    <a:pt x="1642" y="1071"/>
                    <a:pt x="1719" y="973"/>
                    <a:pt x="1719" y="859"/>
                  </a:cubicBezTo>
                  <a:cubicBezTo>
                    <a:pt x="1719" y="745"/>
                    <a:pt x="1642" y="647"/>
                    <a:pt x="1531" y="620"/>
                  </a:cubicBezTo>
                  <a:cubicBezTo>
                    <a:pt x="1194" y="537"/>
                    <a:pt x="1182" y="525"/>
                    <a:pt x="1099" y="188"/>
                  </a:cubicBezTo>
                  <a:cubicBezTo>
                    <a:pt x="1072" y="77"/>
                    <a:pt x="973" y="0"/>
                    <a:pt x="860" y="0"/>
                  </a:cubicBezTo>
                  <a:cubicBezTo>
                    <a:pt x="746" y="0"/>
                    <a:pt x="647" y="77"/>
                    <a:pt x="620" y="188"/>
                  </a:cubicBezTo>
                  <a:cubicBezTo>
                    <a:pt x="538" y="525"/>
                    <a:pt x="525" y="537"/>
                    <a:pt x="188" y="620"/>
                  </a:cubicBezTo>
                  <a:cubicBezTo>
                    <a:pt x="77" y="647"/>
                    <a:pt x="0" y="745"/>
                    <a:pt x="0" y="859"/>
                  </a:cubicBezTo>
                  <a:cubicBezTo>
                    <a:pt x="0" y="973"/>
                    <a:pt x="77" y="1071"/>
                    <a:pt x="188" y="1099"/>
                  </a:cubicBezTo>
                  <a:close/>
                  <a:moveTo>
                    <a:pt x="860" y="261"/>
                  </a:moveTo>
                  <a:cubicBezTo>
                    <a:pt x="961" y="670"/>
                    <a:pt x="1049" y="758"/>
                    <a:pt x="1458" y="859"/>
                  </a:cubicBezTo>
                  <a:cubicBezTo>
                    <a:pt x="1049" y="961"/>
                    <a:pt x="961" y="1049"/>
                    <a:pt x="860" y="1457"/>
                  </a:cubicBezTo>
                  <a:cubicBezTo>
                    <a:pt x="758" y="1049"/>
                    <a:pt x="670" y="961"/>
                    <a:pt x="261" y="859"/>
                  </a:cubicBezTo>
                  <a:cubicBezTo>
                    <a:pt x="670" y="758"/>
                    <a:pt x="758" y="669"/>
                    <a:pt x="860" y="2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" name="Прямоугольник 49"/>
          <p:cNvSpPr/>
          <p:nvPr/>
        </p:nvSpPr>
        <p:spPr>
          <a:xfrm>
            <a:off x="1536491" y="4340935"/>
            <a:ext cx="6096000" cy="64633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r>
              <a:rPr lang="ru-RU" sz="1800" b="1" dirty="0">
                <a:solidFill>
                  <a:srgbClr val="000000"/>
                </a:solidFill>
                <a:latin typeface="Proxima Nova Rg" panose="02000506030000020004" pitchFamily="2" charset="0"/>
              </a:rPr>
              <a:t>Повышение квалификации </a:t>
            </a:r>
            <a:r>
              <a:rPr lang="ru-RU" sz="1800" dirty="0">
                <a:solidFill>
                  <a:srgbClr val="000000"/>
                </a:solidFill>
                <a:latin typeface="Proxima Nova Rg" panose="02000506030000020004" pitchFamily="2" charset="0"/>
              </a:rPr>
              <a:t>и экспертная отраслевая поддержка фермеров </a:t>
            </a:r>
          </a:p>
        </p:txBody>
      </p:sp>
      <p:sp>
        <p:nvSpPr>
          <p:cNvPr id="130" name="Номер слайда 2"/>
          <p:cNvSpPr txBox="1">
            <a:spLocks/>
          </p:cNvSpPr>
          <p:nvPr/>
        </p:nvSpPr>
        <p:spPr>
          <a:xfrm>
            <a:off x="9120188" y="6554394"/>
            <a:ext cx="272700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3982" rtl="0" eaLnBrk="1" latinLnBrk="0" hangingPunct="1">
              <a:defRPr sz="1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6991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982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973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964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955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946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937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929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AA9B757-E82C-4C61-B4AC-FDC45BBF87A6}" type="slidenum">
              <a:rPr lang="ru-RU" sz="1100" smtClean="0"/>
              <a:pPr/>
              <a:t>3</a:t>
            </a:fld>
            <a:endParaRPr lang="ru-RU" sz="1100" dirty="0"/>
          </a:p>
        </p:txBody>
      </p:sp>
      <p:sp>
        <p:nvSpPr>
          <p:cNvPr id="131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334963" y="6554394"/>
            <a:ext cx="8605837" cy="153888"/>
          </a:xfrm>
        </p:spPr>
        <p:txBody>
          <a:bodyPr/>
          <a:lstStyle/>
          <a:p>
            <a:r>
              <a:rPr lang="ru-RU" sz="1100" b="1" dirty="0"/>
              <a:t>РОССЕЛЬХОЗБАНК: </a:t>
            </a:r>
            <a:r>
              <a:rPr lang="ru-RU" sz="1100" dirty="0"/>
              <a:t>СОВРЕМЕННЫЕ ПОДХОДЫ В ПОДГОТОВКЕ КАДРОВ АГРОПРОМЫШЛЕННОГО </a:t>
            </a:r>
            <a:r>
              <a:rPr lang="ru-RU" sz="1100" dirty="0" smtClean="0"/>
              <a:t>КОМПЛЕКСА </a:t>
            </a:r>
            <a:endParaRPr lang="ru-RU" sz="1100" dirty="0"/>
          </a:p>
        </p:txBody>
      </p:sp>
      <p:pic>
        <p:nvPicPr>
          <p:cNvPr id="66" name="Рисунок 6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52038" y="253731"/>
            <a:ext cx="1410934" cy="410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440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Рисунок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025" y="275326"/>
            <a:ext cx="1372868" cy="38393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b="12148"/>
          <a:stretch/>
        </p:blipFill>
        <p:spPr>
          <a:xfrm>
            <a:off x="5440280" y="-1"/>
            <a:ext cx="6745630" cy="6845301"/>
          </a:xfrm>
          <a:prstGeom prst="rect">
            <a:avLst/>
          </a:prstGeom>
        </p:spPr>
      </p:pic>
      <p:sp>
        <p:nvSpPr>
          <p:cNvPr id="32" name="Равнобедренный треугольник 31"/>
          <p:cNvSpPr/>
          <p:nvPr/>
        </p:nvSpPr>
        <p:spPr>
          <a:xfrm rot="5400000">
            <a:off x="3675057" y="1753012"/>
            <a:ext cx="6858001" cy="335197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334964" y="510377"/>
            <a:ext cx="6963612" cy="707886"/>
          </a:xfrm>
          <a:prstGeom prst="rect">
            <a:avLst/>
          </a:prstGeom>
          <a:solidFill>
            <a:srgbClr val="088054"/>
          </a:solidFill>
        </p:spPr>
        <p:txBody>
          <a:bodyPr wrap="square">
            <a:spAutoFit/>
          </a:bodyPr>
          <a:lstStyle/>
          <a:p>
            <a:pPr marL="261938" indent="-261938"/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КЛЮЧЕВЫЕ УЧАСТНИКИ</a:t>
            </a:r>
            <a:endParaRPr lang="ru-RU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Группа 87"/>
          <p:cNvGrpSpPr/>
          <p:nvPr/>
        </p:nvGrpSpPr>
        <p:grpSpPr>
          <a:xfrm>
            <a:off x="689550" y="2565474"/>
            <a:ext cx="5730246" cy="647410"/>
            <a:chOff x="689550" y="2534541"/>
            <a:chExt cx="5730246" cy="647410"/>
          </a:xfrm>
        </p:grpSpPr>
        <p:sp>
          <p:nvSpPr>
            <p:cNvPr id="10" name="TextBox 9"/>
            <p:cNvSpPr txBox="1"/>
            <p:nvPr/>
          </p:nvSpPr>
          <p:spPr>
            <a:xfrm>
              <a:off x="1561153" y="2596636"/>
              <a:ext cx="485864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 b="1">
                  <a:latin typeface="+mj-lt"/>
                  <a:ea typeface="Microsoft JhengHei Light" panose="020B0304030504040204" pitchFamily="34" charset="-120"/>
                </a:defRPr>
              </a:lvl1pPr>
            </a:lstStyle>
            <a:p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Министерство сельского хозяйства</a:t>
              </a:r>
              <a:b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</a:b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Российской </a:t>
              </a:r>
              <a:r>
                <a:rPr lang="ru-RU" sz="1400" b="0" dirty="0">
                  <a:solidFill>
                    <a:srgbClr val="000000"/>
                  </a:solidFill>
                  <a:latin typeface="Proxima Nova Rg" panose="02000506030000020004" pitchFamily="2" charset="0"/>
                </a:rPr>
                <a:t>Ф</a:t>
              </a: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едерации</a:t>
              </a:r>
              <a:endParaRPr lang="ru-RU" sz="1400" b="0" dirty="0">
                <a:solidFill>
                  <a:srgbClr val="000000"/>
                </a:solidFill>
                <a:latin typeface="Proxima Nova Rg" panose="02000506030000020004" pitchFamily="2" charset="0"/>
              </a:endParaRPr>
            </a:p>
          </p:txBody>
        </p:sp>
        <p:grpSp>
          <p:nvGrpSpPr>
            <p:cNvPr id="66" name="Группа 65"/>
            <p:cNvGrpSpPr/>
            <p:nvPr/>
          </p:nvGrpSpPr>
          <p:grpSpPr>
            <a:xfrm>
              <a:off x="689550" y="2534541"/>
              <a:ext cx="647410" cy="647410"/>
              <a:chOff x="508857" y="2454217"/>
              <a:chExt cx="783366" cy="783366"/>
            </a:xfrm>
          </p:grpSpPr>
          <p:sp>
            <p:nvSpPr>
              <p:cNvPr id="77" name="Овал 76"/>
              <p:cNvSpPr/>
              <p:nvPr/>
            </p:nvSpPr>
            <p:spPr>
              <a:xfrm>
                <a:off x="508857" y="2454217"/>
                <a:ext cx="783366" cy="78336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70" name="Рисунок 69"/>
              <p:cNvPicPr>
                <a:picLocks noChangeAspect="1"/>
              </p:cNvPicPr>
              <p:nvPr/>
            </p:nvPicPr>
            <p:blipFill rotWithShape="1">
              <a:blip r:embed="rId4"/>
              <a:srcRect l="13101" r="12946" b="28334"/>
              <a:stretch/>
            </p:blipFill>
            <p:spPr>
              <a:xfrm>
                <a:off x="540335" y="2487603"/>
                <a:ext cx="739463" cy="716594"/>
              </a:xfrm>
              <a:prstGeom prst="ellipse">
                <a:avLst/>
              </a:prstGeom>
            </p:spPr>
          </p:pic>
        </p:grpSp>
      </p:grpSp>
      <p:grpSp>
        <p:nvGrpSpPr>
          <p:cNvPr id="91" name="Группа 90"/>
          <p:cNvGrpSpPr/>
          <p:nvPr/>
        </p:nvGrpSpPr>
        <p:grpSpPr>
          <a:xfrm>
            <a:off x="689550" y="4444018"/>
            <a:ext cx="5811568" cy="738664"/>
            <a:chOff x="689550" y="4557618"/>
            <a:chExt cx="5811568" cy="738664"/>
          </a:xfrm>
        </p:grpSpPr>
        <p:sp>
          <p:nvSpPr>
            <p:cNvPr id="15" name="TextBox 14"/>
            <p:cNvSpPr txBox="1"/>
            <p:nvPr/>
          </p:nvSpPr>
          <p:spPr>
            <a:xfrm>
              <a:off x="1561153" y="4557618"/>
              <a:ext cx="4939965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 b="1">
                  <a:latin typeface="+mj-lt"/>
                  <a:ea typeface="Microsoft JhengHei Light" panose="020B0304030504040204" pitchFamily="34" charset="-120"/>
                </a:defRPr>
              </a:lvl1pPr>
            </a:lstStyle>
            <a:p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Представители некоммерческих организаций</a:t>
              </a: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, отраслевых союзов, </a:t>
              </a:r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региональные центры </a:t>
              </a: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сельскохозяйственного консультирования</a:t>
              </a:r>
              <a:endParaRPr lang="ru-RU" sz="1400" b="0" dirty="0">
                <a:solidFill>
                  <a:srgbClr val="000000"/>
                </a:solidFill>
                <a:latin typeface="Proxima Nova Rg" panose="02000506030000020004" pitchFamily="2" charset="0"/>
              </a:endParaRPr>
            </a:p>
          </p:txBody>
        </p:sp>
        <p:grpSp>
          <p:nvGrpSpPr>
            <p:cNvPr id="81" name="Группа 80"/>
            <p:cNvGrpSpPr/>
            <p:nvPr/>
          </p:nvGrpSpPr>
          <p:grpSpPr>
            <a:xfrm>
              <a:off x="689550" y="4603245"/>
              <a:ext cx="647410" cy="647410"/>
              <a:chOff x="769895" y="4484037"/>
              <a:chExt cx="712151" cy="712151"/>
            </a:xfrm>
          </p:grpSpPr>
          <p:sp>
            <p:nvSpPr>
              <p:cNvPr id="82" name="Овал 81"/>
              <p:cNvSpPr/>
              <p:nvPr/>
            </p:nvSpPr>
            <p:spPr>
              <a:xfrm>
                <a:off x="769895" y="4484037"/>
                <a:ext cx="712151" cy="712151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78" name="Группа 77"/>
              <p:cNvGrpSpPr/>
              <p:nvPr/>
            </p:nvGrpSpPr>
            <p:grpSpPr>
              <a:xfrm>
                <a:off x="830462" y="4550007"/>
                <a:ext cx="588556" cy="588556"/>
                <a:chOff x="1557882" y="4373886"/>
                <a:chExt cx="588555" cy="588555"/>
              </a:xfrm>
            </p:grpSpPr>
            <p:sp>
              <p:nvSpPr>
                <p:cNvPr id="83" name="Овал 82"/>
                <p:cNvSpPr/>
                <p:nvPr/>
              </p:nvSpPr>
              <p:spPr>
                <a:xfrm>
                  <a:off x="1557882" y="4373886"/>
                  <a:ext cx="588555" cy="588555"/>
                </a:xfrm>
                <a:prstGeom prst="ellipse">
                  <a:avLst/>
                </a:prstGeom>
                <a:solidFill>
                  <a:srgbClr val="006F3C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pic>
              <p:nvPicPr>
                <p:cNvPr id="11" name="Рисунок 10"/>
                <p:cNvPicPr>
                  <a:picLocks noChangeAspect="1"/>
                </p:cNvPicPr>
                <p:nvPr/>
              </p:nvPicPr>
              <p:blipFill rotWithShape="1">
                <a:blip r:embed="rId5"/>
                <a:srcRect l="30928" t="31722" r="36127" b="10439"/>
                <a:stretch/>
              </p:blipFill>
              <p:spPr>
                <a:xfrm>
                  <a:off x="1592840" y="4411915"/>
                  <a:ext cx="519546" cy="513051"/>
                </a:xfrm>
                <a:prstGeom prst="ellipse">
                  <a:avLst/>
                </a:prstGeom>
                <a:ln w="38100">
                  <a:solidFill>
                    <a:srgbClr val="006F3C"/>
                  </a:solidFill>
                </a:ln>
              </p:spPr>
            </p:pic>
          </p:grpSp>
        </p:grpSp>
      </p:grpSp>
      <p:grpSp>
        <p:nvGrpSpPr>
          <p:cNvPr id="87" name="Группа 86"/>
          <p:cNvGrpSpPr/>
          <p:nvPr/>
        </p:nvGrpSpPr>
        <p:grpSpPr>
          <a:xfrm>
            <a:off x="689550" y="1534948"/>
            <a:ext cx="6460549" cy="738664"/>
            <a:chOff x="689550" y="1534948"/>
            <a:chExt cx="6460549" cy="738664"/>
          </a:xfrm>
        </p:grpSpPr>
        <p:grpSp>
          <p:nvGrpSpPr>
            <p:cNvPr id="68" name="Группа 67"/>
            <p:cNvGrpSpPr/>
            <p:nvPr/>
          </p:nvGrpSpPr>
          <p:grpSpPr>
            <a:xfrm>
              <a:off x="689550" y="1580575"/>
              <a:ext cx="647410" cy="647410"/>
              <a:chOff x="548962" y="1540925"/>
              <a:chExt cx="783366" cy="783366"/>
            </a:xfrm>
          </p:grpSpPr>
          <p:sp>
            <p:nvSpPr>
              <p:cNvPr id="64" name="Овал 63"/>
              <p:cNvSpPr/>
              <p:nvPr/>
            </p:nvSpPr>
            <p:spPr>
              <a:xfrm>
                <a:off x="548962" y="1540925"/>
                <a:ext cx="783366" cy="78336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69" name="Рисунок 68"/>
              <p:cNvPicPr>
                <a:picLocks noChangeAspect="1"/>
              </p:cNvPicPr>
              <p:nvPr/>
            </p:nvPicPr>
            <p:blipFill rotWithShape="1">
              <a:blip r:embed="rId6"/>
              <a:srcRect l="27997" t="22981" r="47402" b="31345"/>
              <a:stretch/>
            </p:blipFill>
            <p:spPr>
              <a:xfrm>
                <a:off x="618462" y="1608608"/>
                <a:ext cx="644367" cy="648000"/>
              </a:xfrm>
              <a:prstGeom prst="ellipse">
                <a:avLst/>
              </a:prstGeom>
            </p:spPr>
          </p:pic>
        </p:grpSp>
        <p:sp>
          <p:nvSpPr>
            <p:cNvPr id="8" name="TextBox 7"/>
            <p:cNvSpPr txBox="1"/>
            <p:nvPr/>
          </p:nvSpPr>
          <p:spPr>
            <a:xfrm>
              <a:off x="1561153" y="1534948"/>
              <a:ext cx="5588946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000000"/>
                  </a:solidFill>
                  <a:latin typeface="Proxima Nova Rg" panose="02000506030000020004" pitchFamily="2" charset="0"/>
                  <a:ea typeface="Microsoft JhengHei Light" panose="020B0304030504040204" pitchFamily="34" charset="-120"/>
                </a:rPr>
                <a:t>СУБЪЕКТ РФ,</a:t>
              </a:r>
              <a:br>
                <a:rPr lang="ru-RU" sz="1400" b="1" dirty="0">
                  <a:solidFill>
                    <a:srgbClr val="000000"/>
                  </a:solidFill>
                  <a:latin typeface="Proxima Nova Rg" panose="02000506030000020004" pitchFamily="2" charset="0"/>
                  <a:ea typeface="Microsoft JhengHei Light" panose="020B0304030504040204" pitchFamily="34" charset="-120"/>
                </a:rPr>
              </a:br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  <a:ea typeface="Microsoft JhengHei Light" panose="020B0304030504040204" pitchFamily="34" charset="-120"/>
                </a:rPr>
                <a:t>Правительство Свердловской области, Министерство АПК, Фонд поддержки предпринимателей</a:t>
              </a:r>
              <a:endParaRPr lang="ru-RU" sz="14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endParaRPr>
            </a:p>
          </p:txBody>
        </p:sp>
      </p:grpSp>
      <p:grpSp>
        <p:nvGrpSpPr>
          <p:cNvPr id="92" name="Группа 91"/>
          <p:cNvGrpSpPr/>
          <p:nvPr/>
        </p:nvGrpSpPr>
        <p:grpSpPr>
          <a:xfrm>
            <a:off x="689550" y="5474543"/>
            <a:ext cx="5484550" cy="954107"/>
            <a:chOff x="689550" y="5491795"/>
            <a:chExt cx="5484550" cy="954107"/>
          </a:xfrm>
        </p:grpSpPr>
        <p:sp>
          <p:nvSpPr>
            <p:cNvPr id="17" name="TextBox 16"/>
            <p:cNvSpPr txBox="1"/>
            <p:nvPr/>
          </p:nvSpPr>
          <p:spPr>
            <a:xfrm>
              <a:off x="1561153" y="5491795"/>
              <a:ext cx="4612947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 b="1">
                  <a:latin typeface="+mj-lt"/>
                  <a:ea typeface="Microsoft JhengHei Light" panose="020B0304030504040204" pitchFamily="34" charset="-120"/>
                </a:defRPr>
              </a:lvl1pPr>
            </a:lstStyle>
            <a:p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Крупные производители </a:t>
              </a: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и переработчики фермерской продукции, </a:t>
              </a:r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лидеры мнений фермерского сообщества</a:t>
              </a: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, </a:t>
              </a:r>
            </a:p>
            <a:p>
              <a:r>
                <a:rPr lang="ru-RU" sz="1400" b="0" dirty="0">
                  <a:solidFill>
                    <a:srgbClr val="000000"/>
                  </a:solidFill>
                  <a:latin typeface="Proxima Nova Rg" panose="02000506030000020004" pitchFamily="2" charset="0"/>
                </a:rPr>
                <a:t>н</a:t>
              </a: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осители лучших практик</a:t>
              </a:r>
              <a:r>
                <a:rPr lang="en-US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:</a:t>
              </a: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 СПК </a:t>
              </a:r>
              <a:r>
                <a:rPr lang="ru-RU" sz="1400" b="0" dirty="0" err="1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Килачевский</a:t>
              </a: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, КФХ Бондарев, </a:t>
              </a:r>
              <a:r>
                <a:rPr lang="ru-RU" sz="1400" b="0" dirty="0" err="1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Уралплем</a:t>
              </a: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 центр, </a:t>
              </a:r>
              <a:r>
                <a:rPr lang="ru-RU" sz="1400" b="0" dirty="0" err="1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Истокское</a:t>
              </a: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 РТПС</a:t>
              </a:r>
              <a:endParaRPr lang="ru-RU" sz="1400" b="0" dirty="0">
                <a:solidFill>
                  <a:srgbClr val="000000"/>
                </a:solidFill>
                <a:latin typeface="Proxima Nova Rg" panose="02000506030000020004" pitchFamily="2" charset="0"/>
              </a:endParaRPr>
            </a:p>
          </p:txBody>
        </p:sp>
        <p:grpSp>
          <p:nvGrpSpPr>
            <p:cNvPr id="85" name="Группа 84"/>
            <p:cNvGrpSpPr/>
            <p:nvPr/>
          </p:nvGrpSpPr>
          <p:grpSpPr>
            <a:xfrm>
              <a:off x="689550" y="5645143"/>
              <a:ext cx="647410" cy="647410"/>
              <a:chOff x="689550" y="5645143"/>
              <a:chExt cx="647410" cy="647410"/>
            </a:xfrm>
          </p:grpSpPr>
          <p:sp>
            <p:nvSpPr>
              <p:cNvPr id="86" name="Овал 85"/>
              <p:cNvSpPr/>
              <p:nvPr/>
            </p:nvSpPr>
            <p:spPr>
              <a:xfrm>
                <a:off x="689550" y="5645143"/>
                <a:ext cx="647410" cy="64741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89" name="Рисунок 88"/>
              <p:cNvPicPr>
                <a:picLocks noChangeAspect="1"/>
              </p:cNvPicPr>
              <p:nvPr/>
            </p:nvPicPr>
            <p:blipFill rotWithShape="1">
              <a:blip r:embed="rId7"/>
              <a:srcRect l="29059" t="954" r="5123" b="147"/>
              <a:stretch/>
            </p:blipFill>
            <p:spPr>
              <a:xfrm>
                <a:off x="751450" y="5692984"/>
                <a:ext cx="537462" cy="538650"/>
              </a:xfrm>
              <a:prstGeom prst="ellipse">
                <a:avLst/>
              </a:prstGeom>
            </p:spPr>
          </p:pic>
        </p:grpSp>
      </p:grpSp>
      <p:grpSp>
        <p:nvGrpSpPr>
          <p:cNvPr id="90" name="Группа 89"/>
          <p:cNvGrpSpPr/>
          <p:nvPr/>
        </p:nvGrpSpPr>
        <p:grpSpPr>
          <a:xfrm>
            <a:off x="689550" y="3504746"/>
            <a:ext cx="6320849" cy="647410"/>
            <a:chOff x="689550" y="3545945"/>
            <a:chExt cx="6320849" cy="647410"/>
          </a:xfrm>
        </p:grpSpPr>
        <p:grpSp>
          <p:nvGrpSpPr>
            <p:cNvPr id="79" name="Группа 78"/>
            <p:cNvGrpSpPr/>
            <p:nvPr/>
          </p:nvGrpSpPr>
          <p:grpSpPr>
            <a:xfrm>
              <a:off x="689550" y="3545945"/>
              <a:ext cx="647410" cy="647410"/>
              <a:chOff x="571742" y="3512439"/>
              <a:chExt cx="712151" cy="712151"/>
            </a:xfrm>
          </p:grpSpPr>
          <p:sp>
            <p:nvSpPr>
              <p:cNvPr id="80" name="Овал 79"/>
              <p:cNvSpPr/>
              <p:nvPr/>
            </p:nvSpPr>
            <p:spPr>
              <a:xfrm>
                <a:off x="571742" y="3512439"/>
                <a:ext cx="712151" cy="712151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76" name="Рисунок 75"/>
              <p:cNvPicPr>
                <a:picLocks noChangeAspect="1"/>
              </p:cNvPicPr>
              <p:nvPr/>
            </p:nvPicPr>
            <p:blipFill>
              <a:blip r:embed="rId8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sharpenSoften amount="5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623793" y="3574412"/>
                <a:ext cx="595348" cy="588204"/>
              </a:xfrm>
              <a:prstGeom prst="ellipse">
                <a:avLst/>
              </a:prstGeom>
            </p:spPr>
          </p:pic>
        </p:grpSp>
        <p:sp>
          <p:nvSpPr>
            <p:cNvPr id="14" name="TextBox 13"/>
            <p:cNvSpPr txBox="1"/>
            <p:nvPr/>
          </p:nvSpPr>
          <p:spPr>
            <a:xfrm>
              <a:off x="1700853" y="3616234"/>
              <a:ext cx="530954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 b="1">
                  <a:latin typeface="+mj-lt"/>
                  <a:ea typeface="Microsoft JhengHei Light" panose="020B0304030504040204" pitchFamily="34" charset="-120"/>
                </a:defRPr>
              </a:lvl1pPr>
            </a:lstStyle>
            <a:p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Аграрные </a:t>
              </a:r>
              <a:r>
                <a:rPr lang="ru-RU" sz="1400" dirty="0">
                  <a:solidFill>
                    <a:srgbClr val="000000"/>
                  </a:solidFill>
                  <a:latin typeface="Proxima Nova Rg" panose="02000506030000020004" pitchFamily="2" charset="0"/>
                </a:rPr>
                <a:t>у</a:t>
              </a:r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чебные </a:t>
              </a:r>
              <a:r>
                <a:rPr lang="ru-RU" sz="1400" dirty="0">
                  <a:solidFill>
                    <a:srgbClr val="000000"/>
                  </a:solidFill>
                  <a:latin typeface="Proxima Nova Rg" panose="02000506030000020004" pitchFamily="2" charset="0"/>
                </a:rPr>
                <a:t>з</a:t>
              </a:r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аведения</a:t>
              </a:r>
              <a:b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</a:b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- Уральский государственный аграрный университет</a:t>
              </a:r>
              <a:endParaRPr lang="ru-RU" sz="1400" b="0" dirty="0">
                <a:solidFill>
                  <a:srgbClr val="000000"/>
                </a:solidFill>
                <a:latin typeface="Proxima Nova Rg" panose="02000506030000020004" pitchFamily="2" charset="0"/>
              </a:endParaRPr>
            </a:p>
          </p:txBody>
        </p:sp>
      </p:grpSp>
      <p:sp>
        <p:nvSpPr>
          <p:cNvPr id="97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20188" y="6554394"/>
            <a:ext cx="2727006" cy="153888"/>
          </a:xfrm>
        </p:spPr>
        <p:txBody>
          <a:bodyPr/>
          <a:lstStyle/>
          <a:p>
            <a:fld id="{DAA9B757-E82C-4C61-B4AC-FDC45BBF87A6}" type="slidenum">
              <a:rPr lang="ru-RU" sz="1100" smtClean="0"/>
              <a:pPr/>
              <a:t>4</a:t>
            </a:fld>
            <a:endParaRPr lang="ru-RU" sz="1100" dirty="0"/>
          </a:p>
        </p:txBody>
      </p:sp>
      <p:sp>
        <p:nvSpPr>
          <p:cNvPr id="98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334963" y="6554394"/>
            <a:ext cx="8605837" cy="153888"/>
          </a:xfrm>
        </p:spPr>
        <p:txBody>
          <a:bodyPr/>
          <a:lstStyle/>
          <a:p>
            <a:r>
              <a:rPr lang="ru-RU" sz="1100" b="1" dirty="0"/>
              <a:t>РОССЕЛЬХОЗБАНК: </a:t>
            </a:r>
            <a:r>
              <a:rPr lang="ru-RU" sz="1100" dirty="0"/>
              <a:t>СОВРЕМЕННЫЕ ПОДХОДЫ В ПОДГОТОВКЕ КАДРОВ АГРОПРОМЫШЛЕННОГО </a:t>
            </a:r>
            <a:r>
              <a:rPr lang="ru-RU" sz="1100" dirty="0" smtClean="0"/>
              <a:t>КОМПЛЕКСА </a:t>
            </a:r>
            <a:endParaRPr lang="ru-RU" sz="1100" dirty="0"/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52038" y="253731"/>
            <a:ext cx="1410934" cy="410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108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xmlns="" id="{C974EC93-DAC0-45B0-874E-4698673BAE07}"/>
              </a:ext>
            </a:extLst>
          </p:cNvPr>
          <p:cNvSpPr txBox="1">
            <a:spLocks/>
          </p:cNvSpPr>
          <p:nvPr/>
        </p:nvSpPr>
        <p:spPr>
          <a:xfrm>
            <a:off x="4753897" y="824203"/>
            <a:ext cx="5847528" cy="46881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rgbClr val="1C5D2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ru-RU" sz="1625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4" name="Рукописный ввод 3">
                <a:extLst>
                  <a:ext uri="{FF2B5EF4-FFF2-40B4-BE49-F238E27FC236}">
                    <a16:creationId xmlns:a16="http://schemas.microsoft.com/office/drawing/2014/main" xmlns="" id="{1F09B614-C60E-493D-BD30-8EF0035E230E}"/>
                  </a:ext>
                </a:extLst>
              </p14:cNvPr>
              <p14:cNvContentPartPr/>
              <p14:nvPr/>
            </p14:nvContentPartPr>
            <p14:xfrm>
              <a:off x="10826597" y="6282533"/>
              <a:ext cx="38372" cy="368"/>
            </p14:xfrm>
          </p:contentPart>
        </mc:Choice>
        <mc:Fallback xmlns="">
          <p:pic>
            <p:nvPicPr>
              <p:cNvPr id="4" name="Рукописный ввод 3">
                <a:extLst>
                  <a:ext uri="{FF2B5EF4-FFF2-40B4-BE49-F238E27FC236}">
                    <a16:creationId xmlns:a16="http://schemas.microsoft.com/office/drawing/2014/main" id="{1F09B614-C60E-493D-BD30-8EF0035E230E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0" y="0"/>
                <a:ext cx="0" cy="0"/>
              </a:xfrm>
              <a:prstGeom prst="rect">
                <a:avLst/>
              </a:prstGeom>
            </p:spPr>
          </p:pic>
        </mc:Fallback>
      </mc:AlternateContent>
      <p:sp>
        <p:nvSpPr>
          <p:cNvPr id="6" name="Прямоугольник 5"/>
          <p:cNvSpPr/>
          <p:nvPr/>
        </p:nvSpPr>
        <p:spPr>
          <a:xfrm>
            <a:off x="4750090" y="1027855"/>
            <a:ext cx="2290020" cy="2587717"/>
          </a:xfrm>
          <a:prstGeom prst="rect">
            <a:avLst/>
          </a:prstGeom>
          <a:solidFill>
            <a:schemeClr val="bg1"/>
          </a:solidFill>
          <a:ln w="76200">
            <a:solidFill>
              <a:srgbClr val="70BF3D"/>
            </a:solidFill>
          </a:ln>
        </p:spPr>
        <p:txBody>
          <a:bodyPr wrap="square" lIns="87750" tIns="146250" rIns="87750" bIns="87750">
            <a:noAutofit/>
          </a:bodyPr>
          <a:lstStyle/>
          <a:p>
            <a:pPr marL="177800">
              <a:spcAft>
                <a:spcPts val="488"/>
              </a:spcAft>
            </a:pPr>
            <a:r>
              <a:rPr lang="ru-RU" altLang="ru-RU" sz="1400" dirty="0">
                <a:latin typeface="Proxima Nova Rg" panose="02000506030000020004" pitchFamily="2" charset="0"/>
                <a:cs typeface="Arial" panose="020B0604020202020204" pitchFamily="34" charset="0"/>
              </a:rPr>
              <a:t>1 ВОЛНА</a:t>
            </a:r>
            <a:br>
              <a:rPr lang="ru-RU" altLang="ru-RU" sz="1400" dirty="0">
                <a:latin typeface="Proxima Nova Rg" panose="02000506030000020004" pitchFamily="2" charset="0"/>
                <a:cs typeface="Arial" panose="020B0604020202020204" pitchFamily="34" charset="0"/>
              </a:rPr>
            </a:br>
            <a:r>
              <a:rPr lang="ru-RU" altLang="ru-RU" sz="1400" dirty="0">
                <a:latin typeface="Proxima Nova Rg" panose="02000506030000020004" pitchFamily="2" charset="0"/>
                <a:cs typeface="Arial" panose="020B0604020202020204" pitchFamily="34" charset="0"/>
              </a:rPr>
              <a:t>ОБУЧЕНИЯ</a:t>
            </a:r>
          </a:p>
          <a:p>
            <a:pPr marL="177800">
              <a:spcAft>
                <a:spcPts val="488"/>
              </a:spcAft>
            </a:pPr>
            <a:r>
              <a:rPr lang="en-US" altLang="ru-RU" sz="1600" dirty="0">
                <a:latin typeface="Proxima Nova Rg" panose="02000506030000020004" pitchFamily="2" charset="0"/>
                <a:cs typeface="Arial" panose="020B0604020202020204" pitchFamily="34" charset="0"/>
              </a:rPr>
              <a:t/>
            </a:r>
            <a:br>
              <a:rPr lang="en-US" altLang="ru-RU" sz="1600" dirty="0">
                <a:latin typeface="Proxima Nova Rg" panose="02000506030000020004" pitchFamily="2" charset="0"/>
                <a:cs typeface="Arial" panose="020B0604020202020204" pitchFamily="34" charset="0"/>
              </a:rPr>
            </a:br>
            <a:endParaRPr lang="ru-RU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endParaRPr lang="en-US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endParaRPr lang="ru-RU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222010" y="1040861"/>
            <a:ext cx="2280814" cy="2587717"/>
          </a:xfrm>
          <a:prstGeom prst="rect">
            <a:avLst/>
          </a:prstGeom>
          <a:solidFill>
            <a:schemeClr val="bg1"/>
          </a:solidFill>
          <a:ln w="76200">
            <a:solidFill>
              <a:srgbClr val="70BF3D"/>
            </a:solidFill>
          </a:ln>
        </p:spPr>
        <p:txBody>
          <a:bodyPr wrap="square" lIns="87750" tIns="146250" rIns="87750" bIns="87750">
            <a:noAutofit/>
          </a:bodyPr>
          <a:lstStyle/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2 ВОЛНА</a:t>
            </a:r>
            <a:b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</a:b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ОБУЧЕНИЯ</a:t>
            </a:r>
            <a:endParaRPr lang="ru-RU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7975" y="253731"/>
            <a:ext cx="9372861" cy="612000"/>
          </a:xfrm>
          <a:solidFill>
            <a:srgbClr val="088054"/>
          </a:solidFill>
        </p:spPr>
        <p:txBody>
          <a:bodyPr>
            <a:normAutofit fontScale="90000"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ОТ ПИЛОТНОГО ЗАПУСКА В 2020 ГОДУ</a:t>
            </a:r>
            <a:br>
              <a:rPr lang="ru-RU" dirty="0" smtClean="0">
                <a:solidFill>
                  <a:schemeClr val="bg1"/>
                </a:solidFill>
              </a:rPr>
            </a:br>
            <a:r>
              <a:rPr lang="ru-RU" dirty="0" smtClean="0">
                <a:solidFill>
                  <a:schemeClr val="bg1"/>
                </a:solidFill>
              </a:rPr>
              <a:t>ДО ФЕДЕРАЛЬНОГО ОБРАЗОВАТЕЛЬНОГО ПРОЕКТА В 2022 ГОДУ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936835" y="1626635"/>
            <a:ext cx="2569355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5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114</a:t>
            </a:r>
          </a:p>
          <a:p>
            <a:endParaRPr lang="ru-RU" altLang="ru-RU" sz="3600" b="1" dirty="0" smtClean="0">
              <a:solidFill>
                <a:srgbClr val="000000"/>
              </a:solidFill>
              <a:latin typeface="Ristretto Pro" panose="020B0008030200020004" pitchFamily="34" charset="-52"/>
              <a:cs typeface="Arial" panose="020B0604020202020204" pitchFamily="34" charset="0"/>
            </a:endParaRPr>
          </a:p>
          <a:p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4 РЕГИОНА</a:t>
            </a:r>
            <a:b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9 СПЕЦИАЛИЗАЦИЙ</a:t>
            </a: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/>
          <a:srcRect l="25444" r="23864" b="4743"/>
          <a:stretch/>
        </p:blipFill>
        <p:spPr>
          <a:xfrm>
            <a:off x="234315" y="981075"/>
            <a:ext cx="4333875" cy="5429250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4933471" y="2334720"/>
            <a:ext cx="6096001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altLang="ru-RU" sz="2800" b="1" dirty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СЛУШАТЕЛЕЙ </a:t>
            </a:r>
            <a: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  <a:t/>
            </a:r>
            <a:b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</a:br>
            <a:endParaRPr lang="ru-RU" sz="24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7385724" y="1635868"/>
            <a:ext cx="2146883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5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352</a:t>
            </a:r>
          </a:p>
          <a:p>
            <a:endParaRPr lang="ru-RU" altLang="ru-RU" sz="3600" b="1" dirty="0" smtClean="0">
              <a:solidFill>
                <a:srgbClr val="000000"/>
              </a:solidFill>
              <a:latin typeface="Ristretto Pro" panose="020B0008030200020004" pitchFamily="34" charset="-52"/>
              <a:cs typeface="Arial" panose="020B0604020202020204" pitchFamily="34" charset="0"/>
            </a:endParaRPr>
          </a:p>
          <a:p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15 РЕГИОНОВ</a:t>
            </a:r>
            <a:b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17 СПЕЦИАЛИЗАЦИЙ</a:t>
            </a: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7403186" y="2342541"/>
            <a:ext cx="202851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СЛУШАТЕЛЕЙ</a:t>
            </a:r>
            <a:r>
              <a:rPr lang="ru-RU" altLang="ru-RU" sz="28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 </a:t>
            </a:r>
            <a: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  <a:t/>
            </a:r>
            <a:b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</a:br>
            <a:endParaRPr lang="ru-RU" sz="2400" dirty="0"/>
          </a:p>
        </p:txBody>
      </p:sp>
      <p:sp>
        <p:nvSpPr>
          <p:cNvPr id="32" name="Номер слайда 2"/>
          <p:cNvSpPr txBox="1">
            <a:spLocks/>
          </p:cNvSpPr>
          <p:nvPr/>
        </p:nvSpPr>
        <p:spPr>
          <a:xfrm>
            <a:off x="9120188" y="6554394"/>
            <a:ext cx="2727006" cy="153888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 marL="0" algn="r" defTabSz="913982" rtl="0" eaLnBrk="1" latinLnBrk="0" hangingPunct="1">
              <a:defRPr sz="1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6991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982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973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964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955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946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937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929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AA9B757-E82C-4C61-B4AC-FDC45BBF87A6}" type="slidenum">
              <a:rPr lang="ru-RU" sz="1100" smtClean="0"/>
              <a:pPr/>
              <a:t>5</a:t>
            </a:fld>
            <a:endParaRPr lang="ru-RU" sz="1100" dirty="0"/>
          </a:p>
        </p:txBody>
      </p:sp>
      <p:sp>
        <p:nvSpPr>
          <p:cNvPr id="33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334963" y="6554394"/>
            <a:ext cx="8605837" cy="153888"/>
          </a:xfrm>
        </p:spPr>
        <p:txBody>
          <a:bodyPr/>
          <a:lstStyle/>
          <a:p>
            <a:r>
              <a:rPr lang="ru-RU" sz="1100" b="1" dirty="0"/>
              <a:t>РОССЕЛЬХОЗБАНК: </a:t>
            </a:r>
            <a:r>
              <a:rPr lang="ru-RU" sz="1100" dirty="0"/>
              <a:t>СОВРЕМЕННЫЕ ПОДХОДЫ В ПОДГОТОВКЕ КАДРОВ АГРОПРОМЫШЛЕННОГО </a:t>
            </a:r>
            <a:r>
              <a:rPr lang="ru-RU" sz="1100" dirty="0" smtClean="0"/>
              <a:t>КОМПЛЕКСА </a:t>
            </a:r>
            <a:endParaRPr lang="ru-RU" sz="1100" dirty="0"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52038" y="253731"/>
            <a:ext cx="1410934" cy="410830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9680836" y="1040861"/>
            <a:ext cx="2280814" cy="2587717"/>
          </a:xfrm>
          <a:prstGeom prst="rect">
            <a:avLst/>
          </a:prstGeom>
          <a:solidFill>
            <a:schemeClr val="bg1"/>
          </a:solidFill>
          <a:ln w="76200">
            <a:solidFill>
              <a:srgbClr val="70BF3D"/>
            </a:solidFill>
          </a:ln>
        </p:spPr>
        <p:txBody>
          <a:bodyPr wrap="square" lIns="87750" tIns="146250" rIns="87750" bIns="87750">
            <a:noAutofit/>
          </a:bodyPr>
          <a:lstStyle/>
          <a:p>
            <a:pPr marL="177800">
              <a:spcAft>
                <a:spcPts val="488"/>
              </a:spcAft>
            </a:pPr>
            <a:r>
              <a:rPr lang="ru-RU" altLang="ru-RU" sz="1600" dirty="0">
                <a:latin typeface="Proxima Nova Rg" panose="02000506030000020004" pitchFamily="2" charset="0"/>
                <a:cs typeface="Arial" panose="020B0604020202020204" pitchFamily="34" charset="0"/>
              </a:rPr>
              <a:t>3</a:t>
            </a: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 ВОЛНА</a:t>
            </a:r>
            <a:b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</a:b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ОБУЧЕНИЯ</a:t>
            </a:r>
            <a:endParaRPr lang="ru-RU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9844550" y="1635868"/>
            <a:ext cx="2146883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5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788</a:t>
            </a:r>
          </a:p>
          <a:p>
            <a:endParaRPr lang="ru-RU" altLang="ru-RU" sz="3600" b="1" dirty="0" smtClean="0">
              <a:solidFill>
                <a:srgbClr val="000000"/>
              </a:solidFill>
              <a:latin typeface="Ristretto Pro" panose="020B0008030200020004" pitchFamily="34" charset="-52"/>
              <a:cs typeface="Arial" panose="020B0604020202020204" pitchFamily="34" charset="0"/>
            </a:endParaRPr>
          </a:p>
          <a:p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7 РЕГИОНОВ</a:t>
            </a:r>
            <a:b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0 СПЕЦИАЛИЗАЦИЙ</a:t>
            </a: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9844550" y="2244437"/>
            <a:ext cx="2045981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СЛУШАТЕЛЕЙ</a:t>
            </a:r>
            <a:r>
              <a:rPr lang="ru-RU" altLang="ru-RU" sz="28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 </a:t>
            </a:r>
            <a: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  <a:t/>
            </a:r>
            <a:b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</a:br>
            <a:endParaRPr lang="ru-RU" sz="2400" dirty="0"/>
          </a:p>
        </p:txBody>
      </p:sp>
      <p:sp>
        <p:nvSpPr>
          <p:cNvPr id="40" name="Заголовок 1">
            <a:extLst>
              <a:ext uri="{FF2B5EF4-FFF2-40B4-BE49-F238E27FC236}">
                <a16:creationId xmlns:a16="http://schemas.microsoft.com/office/drawing/2014/main" xmlns="" id="{C974EC93-DAC0-45B0-874E-4698673BAE07}"/>
              </a:ext>
            </a:extLst>
          </p:cNvPr>
          <p:cNvSpPr txBox="1">
            <a:spLocks/>
          </p:cNvSpPr>
          <p:nvPr/>
        </p:nvSpPr>
        <p:spPr>
          <a:xfrm>
            <a:off x="4753897" y="3621600"/>
            <a:ext cx="5847528" cy="46881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rgbClr val="1C5D2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ru-RU" sz="1625" dirty="0"/>
          </a:p>
        </p:txBody>
      </p:sp>
      <p:sp>
        <p:nvSpPr>
          <p:cNvPr id="41" name="Прямоугольник 40"/>
          <p:cNvSpPr/>
          <p:nvPr/>
        </p:nvSpPr>
        <p:spPr>
          <a:xfrm>
            <a:off x="4750090" y="3825252"/>
            <a:ext cx="2290020" cy="2587717"/>
          </a:xfrm>
          <a:prstGeom prst="rect">
            <a:avLst/>
          </a:prstGeom>
          <a:solidFill>
            <a:schemeClr val="bg1"/>
          </a:solidFill>
          <a:ln w="76200">
            <a:solidFill>
              <a:srgbClr val="70BF3D"/>
            </a:solidFill>
          </a:ln>
        </p:spPr>
        <p:txBody>
          <a:bodyPr wrap="square" lIns="87750" tIns="146250" rIns="87750" bIns="87750">
            <a:noAutofit/>
          </a:bodyPr>
          <a:lstStyle/>
          <a:p>
            <a:pPr marL="177800">
              <a:spcAft>
                <a:spcPts val="488"/>
              </a:spcAft>
            </a:pPr>
            <a:r>
              <a:rPr lang="ru-RU" altLang="ru-RU" sz="14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4 </a:t>
            </a:r>
            <a:r>
              <a:rPr lang="ru-RU" altLang="ru-RU" sz="1400" dirty="0">
                <a:latin typeface="Proxima Nova Rg" panose="02000506030000020004" pitchFamily="2" charset="0"/>
                <a:cs typeface="Arial" panose="020B0604020202020204" pitchFamily="34" charset="0"/>
              </a:rPr>
              <a:t>ВОЛНА</a:t>
            </a:r>
            <a:br>
              <a:rPr lang="ru-RU" altLang="ru-RU" sz="1400" dirty="0">
                <a:latin typeface="Proxima Nova Rg" panose="02000506030000020004" pitchFamily="2" charset="0"/>
                <a:cs typeface="Arial" panose="020B0604020202020204" pitchFamily="34" charset="0"/>
              </a:rPr>
            </a:br>
            <a:r>
              <a:rPr lang="ru-RU" altLang="ru-RU" sz="1400" dirty="0">
                <a:latin typeface="Proxima Nova Rg" panose="02000506030000020004" pitchFamily="2" charset="0"/>
                <a:cs typeface="Arial" panose="020B0604020202020204" pitchFamily="34" charset="0"/>
              </a:rPr>
              <a:t>ОБУЧЕНИЯ</a:t>
            </a:r>
          </a:p>
          <a:p>
            <a:pPr marL="177800">
              <a:spcAft>
                <a:spcPts val="488"/>
              </a:spcAft>
            </a:pPr>
            <a:r>
              <a:rPr lang="en-US" altLang="ru-RU" sz="1600" dirty="0">
                <a:latin typeface="Proxima Nova Rg" panose="02000506030000020004" pitchFamily="2" charset="0"/>
                <a:cs typeface="Arial" panose="020B0604020202020204" pitchFamily="34" charset="0"/>
              </a:rPr>
              <a:t/>
            </a:r>
            <a:br>
              <a:rPr lang="en-US" altLang="ru-RU" sz="1600" dirty="0">
                <a:latin typeface="Proxima Nova Rg" panose="02000506030000020004" pitchFamily="2" charset="0"/>
                <a:cs typeface="Arial" panose="020B0604020202020204" pitchFamily="34" charset="0"/>
              </a:rPr>
            </a:br>
            <a:endParaRPr lang="ru-RU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endParaRPr lang="en-US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endParaRPr lang="ru-RU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7222010" y="3838258"/>
            <a:ext cx="2280814" cy="2587717"/>
          </a:xfrm>
          <a:prstGeom prst="rect">
            <a:avLst/>
          </a:prstGeom>
          <a:solidFill>
            <a:schemeClr val="bg1"/>
          </a:solidFill>
          <a:ln w="76200">
            <a:solidFill>
              <a:srgbClr val="EDC531"/>
            </a:solidFill>
          </a:ln>
        </p:spPr>
        <p:txBody>
          <a:bodyPr wrap="square" lIns="87750" tIns="146250" rIns="87750" bIns="87750">
            <a:noAutofit/>
          </a:bodyPr>
          <a:lstStyle/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5 ВОЛНА</a:t>
            </a:r>
            <a:b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</a:b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ОБУЧЕНИЯ</a:t>
            </a:r>
            <a:endParaRPr lang="ru-RU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4936835" y="4424032"/>
            <a:ext cx="2569355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5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694</a:t>
            </a:r>
          </a:p>
          <a:p>
            <a:endParaRPr lang="ru-RU" altLang="ru-RU" sz="3600" b="1" dirty="0" smtClean="0">
              <a:solidFill>
                <a:srgbClr val="000000"/>
              </a:solidFill>
              <a:latin typeface="Ristretto Pro" panose="020B0008030200020004" pitchFamily="34" charset="-52"/>
              <a:cs typeface="Arial" panose="020B0604020202020204" pitchFamily="34" charset="0"/>
            </a:endParaRPr>
          </a:p>
          <a:p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5 РЕГИОНОВ</a:t>
            </a:r>
            <a:b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2 СПЕЦИАЛИЗАЦИИ</a:t>
            </a: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933471" y="5132117"/>
            <a:ext cx="6096001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altLang="ru-RU" sz="28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СЛУШАТЕЛЯ </a:t>
            </a:r>
            <a: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  <a:t/>
            </a:r>
            <a:b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</a:br>
            <a:endParaRPr lang="ru-RU" sz="2400" dirty="0"/>
          </a:p>
        </p:txBody>
      </p:sp>
      <p:sp>
        <p:nvSpPr>
          <p:cNvPr id="45" name="Прямоугольник 44"/>
          <p:cNvSpPr/>
          <p:nvPr/>
        </p:nvSpPr>
        <p:spPr>
          <a:xfrm>
            <a:off x="7385724" y="4433265"/>
            <a:ext cx="2146883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ru-RU" sz="5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&gt;</a:t>
            </a:r>
            <a:r>
              <a:rPr lang="ru-RU" altLang="ru-RU" sz="5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75</a:t>
            </a:r>
            <a:r>
              <a:rPr lang="en-US" altLang="ru-RU" sz="5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0</a:t>
            </a:r>
            <a:endParaRPr lang="ru-RU" altLang="ru-RU" sz="5400" b="1" dirty="0" smtClean="0">
              <a:solidFill>
                <a:srgbClr val="000000"/>
              </a:solidFill>
              <a:latin typeface="Ristretto Pro" panose="020B0008030200020004" pitchFamily="34" charset="-52"/>
              <a:cs typeface="Arial" panose="020B0604020202020204" pitchFamily="34" charset="0"/>
            </a:endParaRPr>
          </a:p>
          <a:p>
            <a:endParaRPr lang="ru-RU" altLang="ru-RU" sz="3600" b="1" dirty="0" smtClean="0">
              <a:solidFill>
                <a:srgbClr val="000000"/>
              </a:solidFill>
              <a:latin typeface="Ristretto Pro" panose="020B0008030200020004" pitchFamily="34" charset="-52"/>
              <a:cs typeface="Arial" panose="020B0604020202020204" pitchFamily="34" charset="0"/>
            </a:endParaRPr>
          </a:p>
          <a:p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2 РЕГИОНА</a:t>
            </a:r>
            <a:b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16 СПЕЦИАЛИЗАЦИЙ</a:t>
            </a: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7403186" y="5139938"/>
            <a:ext cx="202851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СЛУШАТЕЛЕЙ</a:t>
            </a:r>
            <a:r>
              <a:rPr lang="ru-RU" altLang="ru-RU" sz="28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 </a:t>
            </a:r>
            <a: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  <a:t/>
            </a:r>
            <a:b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</a:br>
            <a:endParaRPr lang="ru-RU" sz="2400" dirty="0"/>
          </a:p>
        </p:txBody>
      </p:sp>
      <p:sp>
        <p:nvSpPr>
          <p:cNvPr id="47" name="Прямоугольник 46"/>
          <p:cNvSpPr/>
          <p:nvPr/>
        </p:nvSpPr>
        <p:spPr>
          <a:xfrm>
            <a:off x="9680836" y="3838258"/>
            <a:ext cx="2280814" cy="2587717"/>
          </a:xfrm>
          <a:prstGeom prst="rect">
            <a:avLst/>
          </a:prstGeom>
          <a:solidFill>
            <a:schemeClr val="bg1"/>
          </a:solidFill>
          <a:ln w="76200">
            <a:solidFill>
              <a:srgbClr val="EDC531"/>
            </a:solidFill>
          </a:ln>
        </p:spPr>
        <p:txBody>
          <a:bodyPr wrap="square" lIns="87750" tIns="146250" rIns="87750" bIns="87750">
            <a:noAutofit/>
          </a:bodyPr>
          <a:lstStyle/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6 ВОЛНА</a:t>
            </a:r>
            <a:b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</a:b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ОБУЧЕНИЯ</a:t>
            </a:r>
            <a:endParaRPr lang="ru-RU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844550" y="4433265"/>
            <a:ext cx="2146883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ru-RU" sz="5400" b="1" dirty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&gt; </a:t>
            </a:r>
            <a:r>
              <a:rPr lang="ru-RU" altLang="ru-RU" sz="5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700</a:t>
            </a:r>
          </a:p>
          <a:p>
            <a:endParaRPr lang="ru-RU" altLang="ru-RU" sz="3600" b="1" dirty="0" smtClean="0">
              <a:solidFill>
                <a:srgbClr val="000000"/>
              </a:solidFill>
              <a:latin typeface="Ristretto Pro" panose="020B0008030200020004" pitchFamily="34" charset="-52"/>
              <a:cs typeface="Arial" panose="020B0604020202020204" pitchFamily="34" charset="0"/>
            </a:endParaRPr>
          </a:p>
          <a:p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2 РЕГИОНА</a:t>
            </a:r>
            <a:b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0 СПЕЦИАЛИЗАЦИЙ</a:t>
            </a: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9862012" y="5139938"/>
            <a:ext cx="202851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СЛУШАТЕЛЕЙ</a:t>
            </a:r>
            <a:r>
              <a:rPr lang="ru-RU" altLang="ru-RU" sz="28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 </a:t>
            </a:r>
            <a: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  <a:t/>
            </a:r>
            <a:b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</a:b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038427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xmlns="" id="{C974EC93-DAC0-45B0-874E-4698673BAE07}"/>
              </a:ext>
            </a:extLst>
          </p:cNvPr>
          <p:cNvSpPr txBox="1">
            <a:spLocks/>
          </p:cNvSpPr>
          <p:nvPr/>
        </p:nvSpPr>
        <p:spPr>
          <a:xfrm>
            <a:off x="4753897" y="824203"/>
            <a:ext cx="5847528" cy="46881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rgbClr val="1C5D2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ru-RU" sz="1625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4" name="Рукописный ввод 3">
                <a:extLst>
                  <a:ext uri="{FF2B5EF4-FFF2-40B4-BE49-F238E27FC236}">
                    <a16:creationId xmlns:a16="http://schemas.microsoft.com/office/drawing/2014/main" xmlns="" id="{1F09B614-C60E-493D-BD30-8EF0035E230E}"/>
                  </a:ext>
                </a:extLst>
              </p14:cNvPr>
              <p14:cNvContentPartPr/>
              <p14:nvPr/>
            </p14:nvContentPartPr>
            <p14:xfrm>
              <a:off x="10826597" y="6282533"/>
              <a:ext cx="38372" cy="368"/>
            </p14:xfrm>
          </p:contentPart>
        </mc:Choice>
        <mc:Fallback xmlns="">
          <p:pic>
            <p:nvPicPr>
              <p:cNvPr id="4" name="Рукописный ввод 3">
                <a:extLst>
                  <a:ext uri="{FF2B5EF4-FFF2-40B4-BE49-F238E27FC236}">
                    <a16:creationId xmlns:a16="http://schemas.microsoft.com/office/drawing/2014/main" id="{1F09B614-C60E-493D-BD30-8EF0035E230E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0" y="0"/>
                <a:ext cx="0" cy="0"/>
              </a:xfrm>
              <a:prstGeom prst="rect">
                <a:avLst/>
              </a:prstGeom>
            </p:spPr>
          </p:pic>
        </mc:Fallback>
      </mc:AlternateContent>
      <p:sp>
        <p:nvSpPr>
          <p:cNvPr id="6" name="Прямоугольник 5"/>
          <p:cNvSpPr/>
          <p:nvPr/>
        </p:nvSpPr>
        <p:spPr>
          <a:xfrm>
            <a:off x="4750090" y="1044789"/>
            <a:ext cx="2290020" cy="2587717"/>
          </a:xfrm>
          <a:prstGeom prst="rect">
            <a:avLst/>
          </a:prstGeom>
          <a:solidFill>
            <a:schemeClr val="bg1"/>
          </a:solidFill>
          <a:ln w="76200">
            <a:solidFill>
              <a:srgbClr val="70BF3D"/>
            </a:solidFill>
          </a:ln>
        </p:spPr>
        <p:txBody>
          <a:bodyPr wrap="square" lIns="87750" tIns="146250" rIns="87750" bIns="87750">
            <a:noAutofit/>
          </a:bodyPr>
          <a:lstStyle/>
          <a:p>
            <a:pPr marL="177800">
              <a:spcAft>
                <a:spcPts val="488"/>
              </a:spcAft>
            </a:pPr>
            <a:r>
              <a:rPr lang="ru-RU" altLang="ru-RU" sz="1400" dirty="0">
                <a:latin typeface="Proxima Nova Rg" panose="02000506030000020004" pitchFamily="2" charset="0"/>
                <a:cs typeface="Arial" panose="020B0604020202020204" pitchFamily="34" charset="0"/>
              </a:rPr>
              <a:t>1 ВОЛНА</a:t>
            </a:r>
            <a:br>
              <a:rPr lang="ru-RU" altLang="ru-RU" sz="1400" dirty="0">
                <a:latin typeface="Proxima Nova Rg" panose="02000506030000020004" pitchFamily="2" charset="0"/>
                <a:cs typeface="Arial" panose="020B0604020202020204" pitchFamily="34" charset="0"/>
              </a:rPr>
            </a:br>
            <a:r>
              <a:rPr lang="ru-RU" altLang="ru-RU" sz="1400" dirty="0">
                <a:latin typeface="Proxima Nova Rg" panose="02000506030000020004" pitchFamily="2" charset="0"/>
                <a:cs typeface="Arial" panose="020B0604020202020204" pitchFamily="34" charset="0"/>
              </a:rPr>
              <a:t>ОБУЧЕНИЯ</a:t>
            </a:r>
          </a:p>
          <a:p>
            <a:pPr marL="177800">
              <a:spcAft>
                <a:spcPts val="488"/>
              </a:spcAft>
            </a:pPr>
            <a:r>
              <a:rPr lang="en-US" altLang="ru-RU" sz="1600" dirty="0">
                <a:latin typeface="Proxima Nova Rg" panose="02000506030000020004" pitchFamily="2" charset="0"/>
                <a:cs typeface="Arial" panose="020B0604020202020204" pitchFamily="34" charset="0"/>
              </a:rPr>
              <a:t/>
            </a:r>
            <a:br>
              <a:rPr lang="en-US" altLang="ru-RU" sz="1600" dirty="0">
                <a:latin typeface="Proxima Nova Rg" panose="02000506030000020004" pitchFamily="2" charset="0"/>
                <a:cs typeface="Arial" panose="020B0604020202020204" pitchFamily="34" charset="0"/>
              </a:rPr>
            </a:br>
            <a:endParaRPr lang="ru-RU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endParaRPr lang="en-US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endParaRPr lang="ru-RU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222010" y="1040861"/>
            <a:ext cx="2280814" cy="2587717"/>
          </a:xfrm>
          <a:prstGeom prst="rect">
            <a:avLst/>
          </a:prstGeom>
          <a:solidFill>
            <a:schemeClr val="bg1"/>
          </a:solidFill>
          <a:ln w="76200">
            <a:solidFill>
              <a:srgbClr val="70BF3D"/>
            </a:solidFill>
          </a:ln>
        </p:spPr>
        <p:txBody>
          <a:bodyPr wrap="square" lIns="87750" tIns="146250" rIns="87750" bIns="87750">
            <a:noAutofit/>
          </a:bodyPr>
          <a:lstStyle/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2 ВОЛНА</a:t>
            </a:r>
            <a:b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</a:b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ОБУЧЕНИЯ</a:t>
            </a:r>
            <a:endParaRPr lang="ru-RU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7976" y="253731"/>
            <a:ext cx="9224632" cy="612000"/>
          </a:xfrm>
          <a:solidFill>
            <a:srgbClr val="088054"/>
          </a:solidFill>
        </p:spPr>
        <p:txBody>
          <a:bodyPr>
            <a:normAutofit fontScale="90000"/>
          </a:bodyPr>
          <a:lstStyle/>
          <a:p>
            <a:pPr>
              <a:lnSpc>
                <a:spcPct val="150000"/>
              </a:lnSpc>
            </a:pPr>
            <a:r>
              <a:rPr lang="ru-RU" sz="2800" dirty="0" smtClean="0">
                <a:solidFill>
                  <a:schemeClr val="bg1"/>
                </a:solidFill>
              </a:rPr>
              <a:t>  ШКОЛА ФЕРМЕРА В СВЕРДЛОВСКОЙ ОБЛАСТИ 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862945" y="1626635"/>
            <a:ext cx="2643245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5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20</a:t>
            </a:r>
          </a:p>
          <a:p>
            <a:endParaRPr lang="ru-RU" altLang="ru-RU" sz="3600" b="1" dirty="0" smtClean="0">
              <a:solidFill>
                <a:srgbClr val="000000"/>
              </a:solidFill>
              <a:latin typeface="Ristretto Pro" panose="020B0008030200020004" pitchFamily="34" charset="-52"/>
              <a:cs typeface="Arial" panose="020B0604020202020204" pitchFamily="34" charset="0"/>
            </a:endParaRPr>
          </a:p>
          <a:p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/>
          <a:srcRect l="25444" r="23864" b="4743"/>
          <a:stretch/>
        </p:blipFill>
        <p:spPr>
          <a:xfrm>
            <a:off x="234315" y="981075"/>
            <a:ext cx="4333875" cy="5429250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4933471" y="2334720"/>
            <a:ext cx="6096001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altLang="ru-RU" sz="28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СЛУШАТЕЛЕЙ </a:t>
            </a:r>
            <a: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  <a:t/>
            </a:r>
            <a:b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</a:br>
            <a:endParaRPr lang="ru-RU" sz="24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7385724" y="1635868"/>
            <a:ext cx="214688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5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25</a:t>
            </a:r>
          </a:p>
          <a:p>
            <a:endParaRPr lang="ru-RU" altLang="ru-RU" sz="3600" b="1" dirty="0" smtClean="0">
              <a:solidFill>
                <a:srgbClr val="000000"/>
              </a:solidFill>
              <a:latin typeface="Ristretto Pro" panose="020B0008030200020004" pitchFamily="34" charset="-52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7403186" y="2342541"/>
            <a:ext cx="202851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СЛУШАТЕЛЕЙ</a:t>
            </a:r>
            <a:r>
              <a:rPr lang="ru-RU" altLang="ru-RU" sz="28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 </a:t>
            </a:r>
            <a: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  <a:t/>
            </a:r>
            <a:b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</a:br>
            <a:endParaRPr lang="ru-RU" sz="2400" dirty="0"/>
          </a:p>
        </p:txBody>
      </p:sp>
      <p:sp>
        <p:nvSpPr>
          <p:cNvPr id="32" name="Номер слайда 2"/>
          <p:cNvSpPr txBox="1">
            <a:spLocks/>
          </p:cNvSpPr>
          <p:nvPr/>
        </p:nvSpPr>
        <p:spPr>
          <a:xfrm>
            <a:off x="9120188" y="6554394"/>
            <a:ext cx="2727006" cy="153888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 marL="0" algn="r" defTabSz="913982" rtl="0" eaLnBrk="1" latinLnBrk="0" hangingPunct="1">
              <a:defRPr sz="1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6991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982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973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964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955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946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937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929" algn="l" defTabSz="913982" rtl="0" eaLnBrk="1" latinLnBrk="0" hangingPunct="1"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AA9B757-E82C-4C61-B4AC-FDC45BBF87A6}" type="slidenum">
              <a:rPr lang="ru-RU" sz="1100" smtClean="0"/>
              <a:pPr/>
              <a:t>6</a:t>
            </a:fld>
            <a:endParaRPr lang="ru-RU" sz="1100" dirty="0"/>
          </a:p>
        </p:txBody>
      </p:sp>
      <p:sp>
        <p:nvSpPr>
          <p:cNvPr id="33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334963" y="6554394"/>
            <a:ext cx="8605837" cy="153888"/>
          </a:xfrm>
        </p:spPr>
        <p:txBody>
          <a:bodyPr/>
          <a:lstStyle/>
          <a:p>
            <a:r>
              <a:rPr lang="ru-RU" sz="1100" b="1" dirty="0"/>
              <a:t>РОССЕЛЬХОЗБАНК: </a:t>
            </a:r>
            <a:r>
              <a:rPr lang="ru-RU" sz="1100" dirty="0"/>
              <a:t>СОВРЕМЕННЫЕ ПОДХОДЫ В ПОДГОТОВКЕ КАДРОВ АГРОПРОМЫШЛЕННОГО </a:t>
            </a:r>
            <a:r>
              <a:rPr lang="ru-RU" sz="1100" dirty="0" smtClean="0"/>
              <a:t>КОМПЛЕКСА </a:t>
            </a:r>
            <a:endParaRPr lang="ru-RU" sz="1100" dirty="0"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52038" y="253731"/>
            <a:ext cx="1410934" cy="410830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9680836" y="1040861"/>
            <a:ext cx="2280814" cy="2587717"/>
          </a:xfrm>
          <a:prstGeom prst="rect">
            <a:avLst/>
          </a:prstGeom>
          <a:solidFill>
            <a:schemeClr val="bg1"/>
          </a:solidFill>
          <a:ln w="76200">
            <a:solidFill>
              <a:srgbClr val="70BF3D"/>
            </a:solidFill>
          </a:ln>
        </p:spPr>
        <p:txBody>
          <a:bodyPr wrap="square" lIns="87750" tIns="146250" rIns="87750" bIns="87750">
            <a:noAutofit/>
          </a:bodyPr>
          <a:lstStyle/>
          <a:p>
            <a:pPr marL="177800">
              <a:spcAft>
                <a:spcPts val="488"/>
              </a:spcAft>
            </a:pPr>
            <a:r>
              <a:rPr lang="ru-RU" altLang="ru-RU" sz="1600" dirty="0">
                <a:latin typeface="Proxima Nova Rg" panose="02000506030000020004" pitchFamily="2" charset="0"/>
                <a:cs typeface="Arial" panose="020B0604020202020204" pitchFamily="34" charset="0"/>
              </a:rPr>
              <a:t>3</a:t>
            </a: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 ВОЛНА</a:t>
            </a:r>
            <a:b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</a:b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ОБУЧЕНИЯ</a:t>
            </a:r>
            <a:endParaRPr lang="ru-RU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9844550" y="1635868"/>
            <a:ext cx="214688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5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30</a:t>
            </a:r>
          </a:p>
          <a:p>
            <a:endParaRPr lang="ru-RU" altLang="ru-RU" sz="3600" b="1" dirty="0" smtClean="0">
              <a:solidFill>
                <a:srgbClr val="000000"/>
              </a:solidFill>
              <a:latin typeface="Ristretto Pro" panose="020B0008030200020004" pitchFamily="34" charset="-52"/>
              <a:cs typeface="Arial" panose="020B060402020202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9844550" y="2244437"/>
            <a:ext cx="2045981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СЛУШАТЕЛЕЙ</a:t>
            </a:r>
            <a:r>
              <a:rPr lang="ru-RU" altLang="ru-RU" sz="28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 </a:t>
            </a:r>
            <a: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  <a:t/>
            </a:r>
            <a:b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</a:br>
            <a:endParaRPr lang="ru-RU" sz="2400" dirty="0"/>
          </a:p>
        </p:txBody>
      </p:sp>
      <p:sp>
        <p:nvSpPr>
          <p:cNvPr id="40" name="Заголовок 1">
            <a:extLst>
              <a:ext uri="{FF2B5EF4-FFF2-40B4-BE49-F238E27FC236}">
                <a16:creationId xmlns:a16="http://schemas.microsoft.com/office/drawing/2014/main" xmlns="" id="{C974EC93-DAC0-45B0-874E-4698673BAE07}"/>
              </a:ext>
            </a:extLst>
          </p:cNvPr>
          <p:cNvSpPr txBox="1">
            <a:spLocks/>
          </p:cNvSpPr>
          <p:nvPr/>
        </p:nvSpPr>
        <p:spPr>
          <a:xfrm>
            <a:off x="4753897" y="3621600"/>
            <a:ext cx="5847528" cy="46881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rgbClr val="1C5D2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ru-RU" sz="1625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9862012" y="5139938"/>
            <a:ext cx="202851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8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 </a:t>
            </a:r>
            <a: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  <a:t/>
            </a:r>
            <a:br>
              <a:rPr lang="ru-RU" altLang="ru-RU" sz="2800" b="1" dirty="0">
                <a:latin typeface="Ristretto Pro" panose="020B0008030200020004" pitchFamily="34" charset="-52"/>
                <a:cs typeface="Arial" panose="020B0604020202020204" pitchFamily="34" charset="0"/>
              </a:rPr>
            </a:br>
            <a:endParaRPr lang="ru-RU" sz="2400" dirty="0"/>
          </a:p>
        </p:txBody>
      </p:sp>
      <p:sp>
        <p:nvSpPr>
          <p:cNvPr id="20" name="TextBox 19"/>
          <p:cNvSpPr txBox="1"/>
          <p:nvPr/>
        </p:nvSpPr>
        <p:spPr>
          <a:xfrm>
            <a:off x="5379630" y="4160035"/>
            <a:ext cx="55931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900" b="1">
                <a:latin typeface="+mj-lt"/>
                <a:ea typeface="Microsoft JhengHei Light" panose="020B0304030504040204" pitchFamily="34" charset="-120"/>
              </a:defRPr>
            </a:lvl1pPr>
          </a:lstStyle>
          <a:p>
            <a:r>
              <a:rPr lang="ru-RU" sz="1400" dirty="0" smtClean="0">
                <a:solidFill>
                  <a:srgbClr val="000000"/>
                </a:solidFill>
              </a:rPr>
              <a:t>СПЕЦИАЛИЗАЦИЯ: </a:t>
            </a:r>
            <a:r>
              <a:rPr lang="ru-RU" sz="1400" dirty="0">
                <a:solidFill>
                  <a:srgbClr val="000000"/>
                </a:solidFill>
              </a:rPr>
              <a:t>МЯСНОЕ И МОЛОЧНОЕ </a:t>
            </a:r>
            <a:r>
              <a:rPr lang="ru-RU" sz="1400" dirty="0" smtClean="0">
                <a:solidFill>
                  <a:srgbClr val="000000"/>
                </a:solidFill>
              </a:rPr>
              <a:t>ЖИВОТНОВОДСТВО (КРС)</a:t>
            </a:r>
            <a:endParaRPr lang="ru-RU" sz="1400" b="0" dirty="0">
              <a:solidFill>
                <a:srgbClr val="000000"/>
              </a:solidFill>
              <a:latin typeface="Proxima Nova Rg" panose="02000506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296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авнобедренный треугольник 31"/>
          <p:cNvSpPr/>
          <p:nvPr/>
        </p:nvSpPr>
        <p:spPr>
          <a:xfrm rot="5400000">
            <a:off x="3722682" y="1753012"/>
            <a:ext cx="6858001" cy="335197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290" name="Picture 2" descr="https://allstav.ru/wp-content/uploads/2020/12/1fe35ee91d196b450a78391476864750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18" t="-240" r="23498" b="240"/>
          <a:stretch/>
        </p:blipFill>
        <p:spPr bwMode="auto">
          <a:xfrm>
            <a:off x="6858001" y="1057275"/>
            <a:ext cx="5003800" cy="5287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307974" y="253731"/>
            <a:ext cx="10144063" cy="612000"/>
          </a:xfrm>
          <a:solidFill>
            <a:srgbClr val="088054"/>
          </a:solidFill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ru-RU" dirty="0" smtClean="0">
                <a:solidFill>
                  <a:schemeClr val="bg1"/>
                </a:solidFill>
              </a:rPr>
              <a:t> </a:t>
            </a:r>
            <a:r>
              <a:rPr lang="ru-RU" sz="2800" dirty="0" smtClean="0">
                <a:solidFill>
                  <a:schemeClr val="bg1"/>
                </a:solidFill>
              </a:rPr>
              <a:t>ОСНОВНЫЕ ПОЛОЖЕНИЯ ОРГАНИЗАЦИИ</a:t>
            </a:r>
            <a:r>
              <a:rPr lang="ru-RU" sz="3200" dirty="0" smtClean="0">
                <a:solidFill>
                  <a:schemeClr val="bg1"/>
                </a:solidFill>
              </a:rPr>
              <a:t> </a:t>
            </a:r>
            <a:r>
              <a:rPr lang="ru-RU" sz="2800" dirty="0" smtClean="0">
                <a:solidFill>
                  <a:schemeClr val="bg1"/>
                </a:solidFill>
              </a:rPr>
              <a:t>ОБУЧЕНИЯ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26097" y="1307686"/>
            <a:ext cx="5425816" cy="51783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4250" lvl="1">
              <a:spcAft>
                <a:spcPts val="56"/>
              </a:spcAft>
              <a:buClr>
                <a:schemeClr val="accent1"/>
              </a:buClr>
            </a:pPr>
            <a:r>
              <a:rPr lang="ru-RU" sz="2000" b="1" spc="-11" dirty="0">
                <a:solidFill>
                  <a:srgbClr val="4DBB50"/>
                </a:solidFill>
                <a:latin typeface="Proxima Nova Rg" panose="02000506030000020004" pitchFamily="2" charset="0"/>
              </a:rPr>
              <a:t>ПРИНЦИП </a:t>
            </a:r>
            <a:r>
              <a:rPr lang="ru-RU" sz="2000" b="1" spc="-11" dirty="0" smtClean="0">
                <a:solidFill>
                  <a:srgbClr val="4DBB50"/>
                </a:solidFill>
                <a:latin typeface="Proxima Nova Rg" panose="02000506030000020004" pitchFamily="2" charset="0"/>
              </a:rPr>
              <a:t>ОРГАНИЗАЦИИ</a:t>
            </a:r>
          </a:p>
          <a:p>
            <a:pPr marL="344250" lvl="1">
              <a:spcAft>
                <a:spcPts val="56"/>
              </a:spcAft>
              <a:buClr>
                <a:schemeClr val="accent1"/>
              </a:buClr>
            </a:pPr>
            <a:r>
              <a:rPr lang="ru-RU" sz="2000" b="1" spc="-11" dirty="0" smtClean="0">
                <a:solidFill>
                  <a:srgbClr val="4DBB50"/>
                </a:solidFill>
                <a:latin typeface="Proxima Nova Rg" panose="02000506030000020004" pitchFamily="2" charset="0"/>
              </a:rPr>
              <a:t>РАБОТЫ </a:t>
            </a:r>
            <a:r>
              <a:rPr lang="ru-RU" sz="2000" b="1" spc="-11" dirty="0">
                <a:solidFill>
                  <a:srgbClr val="4DBB50"/>
                </a:solidFill>
                <a:latin typeface="Proxima Nova Rg" panose="02000506030000020004" pitchFamily="2" charset="0"/>
              </a:rPr>
              <a:t>ШКОЛЫ </a:t>
            </a: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ru-RU" sz="1200" b="1" spc="-11" dirty="0" smtClean="0">
              <a:latin typeface="Proxima Nova Rg" panose="02000506030000020004" pitchFamily="2" charset="0"/>
            </a:endParaRP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ru-RU" sz="1400" b="1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В </a:t>
            </a:r>
            <a:r>
              <a:rPr lang="ru-RU" sz="1400" b="1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каждом регионе определены </a:t>
            </a:r>
            <a:r>
              <a:rPr lang="ru-RU" sz="1400" b="1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учебные заведения, </a:t>
            </a:r>
            <a:r>
              <a:rPr lang="ru-RU" sz="1400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на 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базе которых будет организовано </a:t>
            </a:r>
            <a:r>
              <a:rPr lang="ru-RU" sz="1400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обучение. В Свердловской области проект реализован на базе УРАЛЬСКОГО ГОСУДАРСТВЕННОГО АГРАРНОГО УНИВЕРСИТЕТА</a:t>
            </a: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ru-RU" sz="1400" b="1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Для каждого региона  выбраны специализации: </a:t>
            </a:r>
            <a:r>
              <a:rPr lang="ru-RU" sz="1400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распространённая</a:t>
            </a:r>
            <a:r>
              <a:rPr lang="en-US" sz="1400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/</a:t>
            </a:r>
            <a:r>
              <a:rPr lang="ru-RU" sz="1400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востребованная и уникальная отрасль сельского хозяйства. В Свердловской области приоритетной определена специализация  «Мясное и молочное животноводство (КРС)»</a:t>
            </a: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ru-RU" sz="1200" spc="-11" dirty="0">
              <a:solidFill>
                <a:schemeClr val="accent1"/>
              </a:solidFill>
              <a:latin typeface="Proxima Nova Rg" panose="02000506030000020004" pitchFamily="2" charset="0"/>
            </a:endParaRPr>
          </a:p>
          <a:p>
            <a:pPr marL="344250" lvl="1">
              <a:spcBef>
                <a:spcPts val="675"/>
              </a:spcBef>
              <a:spcAft>
                <a:spcPts val="56"/>
              </a:spcAft>
              <a:buClr>
                <a:schemeClr val="accent1"/>
              </a:buClr>
            </a:pPr>
            <a:r>
              <a:rPr lang="ru-RU" sz="2000" b="1" spc="-11" dirty="0">
                <a:solidFill>
                  <a:srgbClr val="4DBB50"/>
                </a:solidFill>
                <a:latin typeface="Proxima Nova Rg" panose="02000506030000020004" pitchFamily="2" charset="0"/>
              </a:rPr>
              <a:t>ФОРМАТ ОБУЧЕНИЯ </a:t>
            </a:r>
            <a:r>
              <a:rPr lang="ru-RU" sz="2000" b="1" spc="-11" dirty="0" smtClean="0">
                <a:solidFill>
                  <a:srgbClr val="4DBB50"/>
                </a:solidFill>
                <a:latin typeface="Proxima Nova Rg" panose="02000506030000020004" pitchFamily="2" charset="0"/>
              </a:rPr>
              <a:t>– СМЕШАННЫЙ</a:t>
            </a:r>
            <a:endParaRPr lang="ru-RU" sz="2000" b="1" spc="-11" dirty="0">
              <a:solidFill>
                <a:srgbClr val="4DBB50"/>
              </a:solidFill>
              <a:latin typeface="Proxima Nova Rg" panose="02000506030000020004" pitchFamily="2" charset="0"/>
            </a:endParaRP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625475" algn="l"/>
              </a:tabLst>
            </a:pPr>
            <a:endParaRPr lang="ru-RU" sz="1200" spc="-11" dirty="0" smtClean="0">
              <a:latin typeface="Proxima Nova Rg" panose="02000506030000020004" pitchFamily="2" charset="0"/>
            </a:endParaRP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625475" algn="l"/>
              </a:tabLst>
            </a:pPr>
            <a:r>
              <a:rPr lang="ru-RU" sz="1400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Теоретическая 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часть – </a:t>
            </a:r>
            <a:r>
              <a:rPr lang="ru-RU" sz="1400" b="1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не менее 150 часов </a:t>
            </a: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625475" algn="l"/>
              </a:tabLst>
            </a:pPr>
            <a:r>
              <a:rPr lang="ru-RU" sz="1400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Практическая 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часть – </a:t>
            </a:r>
            <a:r>
              <a:rPr lang="ru-RU" sz="1400" b="1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не менее 100 часов</a:t>
            </a:r>
          </a:p>
          <a:p>
            <a:pPr marL="625475" lvl="1" indent="-280988">
              <a:spcAft>
                <a:spcPts val="56"/>
              </a:spcAft>
              <a:buClr>
                <a:schemeClr val="accent1"/>
              </a:buClr>
              <a:buFont typeface="Wingdings" pitchFamily="2" charset="2"/>
              <a:buChar char="§"/>
              <a:tabLst>
                <a:tab pos="625475" algn="l"/>
              </a:tabLst>
            </a:pPr>
            <a:endParaRPr lang="ru-RU" sz="1200" spc="-11" dirty="0">
              <a:solidFill>
                <a:srgbClr val="000000"/>
              </a:solidFill>
            </a:endParaRPr>
          </a:p>
          <a:p>
            <a:pPr marL="344250" lvl="1">
              <a:spcBef>
                <a:spcPts val="675"/>
              </a:spcBef>
              <a:spcAft>
                <a:spcPts val="56"/>
              </a:spcAft>
              <a:buClr>
                <a:schemeClr val="accent1"/>
              </a:buClr>
            </a:pPr>
            <a:r>
              <a:rPr lang="ru-RU" sz="2000" b="1" spc="-11" dirty="0">
                <a:solidFill>
                  <a:srgbClr val="4DBB50"/>
                </a:solidFill>
                <a:latin typeface="Proxima Nova Rg" panose="02000506030000020004" pitchFamily="2" charset="0"/>
              </a:rPr>
              <a:t>ПРОГРАММА ОБУЧЕНИЯ</a:t>
            </a: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625475" algn="l"/>
              </a:tabLst>
            </a:pPr>
            <a:endParaRPr lang="ru-RU" sz="1200" spc="-11" dirty="0" smtClean="0">
              <a:latin typeface="Proxima Nova Rg" panose="02000506030000020004" pitchFamily="2" charset="0"/>
            </a:endParaRP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625475" algn="l"/>
              </a:tabLst>
            </a:pPr>
            <a:r>
              <a:rPr lang="ru-RU" sz="1400" b="1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Базовая </a:t>
            </a:r>
            <a:r>
              <a:rPr lang="ru-RU" sz="1400" b="1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программа: 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от теоретической части до заявки на грант (включая практические занятия, получение диплома)</a:t>
            </a:r>
          </a:p>
        </p:txBody>
      </p:sp>
      <p:sp>
        <p:nvSpPr>
          <p:cNvPr id="25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20188" y="6554394"/>
            <a:ext cx="2727006" cy="153888"/>
          </a:xfrm>
        </p:spPr>
        <p:txBody>
          <a:bodyPr/>
          <a:lstStyle/>
          <a:p>
            <a:fld id="{DAA9B757-E82C-4C61-B4AC-FDC45BBF87A6}" type="slidenum">
              <a:rPr lang="ru-RU" sz="1100" smtClean="0"/>
              <a:pPr/>
              <a:t>7</a:t>
            </a:fld>
            <a:endParaRPr lang="ru-RU" sz="1100" dirty="0"/>
          </a:p>
        </p:txBody>
      </p:sp>
      <p:sp>
        <p:nvSpPr>
          <p:cNvPr id="3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334963" y="6554394"/>
            <a:ext cx="8605837" cy="153888"/>
          </a:xfrm>
        </p:spPr>
        <p:txBody>
          <a:bodyPr/>
          <a:lstStyle/>
          <a:p>
            <a:r>
              <a:rPr lang="ru-RU" sz="1100" b="1" dirty="0"/>
              <a:t>РОССЕЛЬХОЗБАНК: </a:t>
            </a:r>
            <a:r>
              <a:rPr lang="ru-RU" sz="1100" dirty="0"/>
              <a:t>СОВРЕМЕННЫЕ ПОДХОДЫ В ПОДГОТОВКЕ КАДРОВ АГРОПРОМЫШЛЕННОГО </a:t>
            </a:r>
            <a:r>
              <a:rPr lang="ru-RU" sz="1100" dirty="0" smtClean="0"/>
              <a:t>КОМПЛЕКСА </a:t>
            </a:r>
            <a:endParaRPr lang="ru-RU" sz="1100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52038" y="253731"/>
            <a:ext cx="1410934" cy="410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659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6989082" y="1218263"/>
            <a:ext cx="3590018" cy="1803201"/>
          </a:xfrm>
          <a:prstGeom prst="rect">
            <a:avLst/>
          </a:prstGeom>
          <a:solidFill>
            <a:srgbClr val="F7E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Прямоугольник 99"/>
          <p:cNvSpPr/>
          <p:nvPr/>
        </p:nvSpPr>
        <p:spPr>
          <a:xfrm>
            <a:off x="6357257" y="4984750"/>
            <a:ext cx="1995715" cy="1873250"/>
          </a:xfrm>
          <a:prstGeom prst="rect">
            <a:avLst/>
          </a:prstGeom>
          <a:solidFill>
            <a:srgbClr val="F7E3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Равнобедренный треугольник 12"/>
          <p:cNvSpPr/>
          <p:nvPr/>
        </p:nvSpPr>
        <p:spPr>
          <a:xfrm rot="5400000">
            <a:off x="3579264" y="1754735"/>
            <a:ext cx="6858001" cy="3348531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TextBox 72"/>
          <p:cNvSpPr txBox="1"/>
          <p:nvPr/>
        </p:nvSpPr>
        <p:spPr>
          <a:xfrm>
            <a:off x="539108" y="6361375"/>
            <a:ext cx="874776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dirty="0" smtClean="0"/>
              <a:t>* Тема обязательна к включению в учебно-тематический план проекта Школа фермера в регионах-участниках продвижения ГМТ в 2021 году</a:t>
            </a:r>
            <a:r>
              <a:rPr lang="ru-RU" sz="500" dirty="0"/>
              <a:t>.</a:t>
            </a:r>
            <a:endParaRPr lang="ru-RU" sz="500" dirty="0" smtClean="0"/>
          </a:p>
        </p:txBody>
      </p:sp>
      <p:sp>
        <p:nvSpPr>
          <p:cNvPr id="5" name="Равнобедренный треугольник 4"/>
          <p:cNvSpPr/>
          <p:nvPr/>
        </p:nvSpPr>
        <p:spPr>
          <a:xfrm rot="5400000">
            <a:off x="4294011" y="1726531"/>
            <a:ext cx="6858000" cy="3404938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4615543" y="0"/>
            <a:ext cx="1404999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334963" y="510377"/>
            <a:ext cx="9409112" cy="707886"/>
          </a:xfrm>
          <a:prstGeom prst="rect">
            <a:avLst/>
          </a:prstGeom>
          <a:solidFill>
            <a:srgbClr val="088054"/>
          </a:solidFill>
        </p:spPr>
        <p:txBody>
          <a:bodyPr wrap="square">
            <a:spAutoFit/>
          </a:bodyPr>
          <a:lstStyle/>
          <a:p>
            <a:pPr marL="261938" indent="-261938"/>
            <a:r>
              <a:rPr lang="ru-RU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СНОВНЫЕ ТЕМЫ ТЕОРИИ</a:t>
            </a:r>
            <a:endParaRPr lang="ru-RU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468746" y="5402653"/>
            <a:ext cx="9730507" cy="8597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b="1" dirty="0" smtClean="0">
                <a:solidFill>
                  <a:srgbClr val="195137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РАЗИТИЕ </a:t>
            </a:r>
            <a:r>
              <a:rPr lang="ru-RU" sz="1200" b="1" dirty="0">
                <a:solidFill>
                  <a:srgbClr val="195137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СЕЛЬСКОГО И АГРОТУРИЗМА В </a:t>
            </a:r>
            <a:r>
              <a:rPr lang="ru-RU" sz="1200" b="1" dirty="0" smtClean="0">
                <a:solidFill>
                  <a:srgbClr val="195137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РЕГИОНЕ:</a:t>
            </a:r>
            <a:br>
              <a:rPr lang="ru-RU" sz="1200" b="1" dirty="0" smtClean="0">
                <a:solidFill>
                  <a:srgbClr val="195137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</a:br>
            <a:r>
              <a:rPr lang="ru-RU" sz="1200" dirty="0" smtClean="0">
                <a:solidFill>
                  <a:srgbClr val="195137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диверсификация </a:t>
            </a:r>
            <a:r>
              <a:rPr lang="ru-RU" sz="1200" dirty="0">
                <a:solidFill>
                  <a:srgbClr val="195137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доходов МФХ и как инструмент реализации продукции</a:t>
            </a:r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195137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ПРОИЗВОДСТВО ОРГАНИЧЕСКОЙ </a:t>
            </a:r>
            <a:r>
              <a:rPr lang="ru-RU" sz="1200" b="1" dirty="0" smtClean="0">
                <a:solidFill>
                  <a:srgbClr val="195137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ПРОДУКЦИИ</a:t>
            </a:r>
            <a:br>
              <a:rPr lang="ru-RU" sz="1200" b="1" dirty="0" smtClean="0">
                <a:solidFill>
                  <a:srgbClr val="195137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</a:br>
            <a:r>
              <a:rPr lang="ru-RU" sz="1200" dirty="0" smtClean="0">
                <a:solidFill>
                  <a:srgbClr val="195137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– соответствие </a:t>
            </a:r>
            <a:r>
              <a:rPr lang="ru-RU" sz="1200" dirty="0">
                <a:solidFill>
                  <a:srgbClr val="195137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требованиям, сертификация, </a:t>
            </a:r>
            <a:r>
              <a:rPr lang="ru-RU" sz="1200" dirty="0" smtClean="0">
                <a:solidFill>
                  <a:srgbClr val="195137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технология </a:t>
            </a:r>
            <a:r>
              <a:rPr lang="ru-RU" sz="1200" dirty="0">
                <a:solidFill>
                  <a:srgbClr val="195137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и ресурсная база 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34963" y="5319195"/>
            <a:ext cx="6561138" cy="992705"/>
          </a:xfrm>
          <a:prstGeom prst="roundRect">
            <a:avLst/>
          </a:prstGeom>
          <a:noFill/>
          <a:ln w="38100">
            <a:solidFill>
              <a:srgbClr val="1951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475608" y="2311400"/>
            <a:ext cx="15027028" cy="213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МЕРЫ ГОСУДАРСТВЕННОЙ ПОДДЕРЖКИ</a:t>
            </a:r>
            <a:br>
              <a:rPr lang="ru-RU" sz="1200" b="1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</a:b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федерального и регионального уровня</a:t>
            </a:r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Доступные </a:t>
            </a:r>
            <a:r>
              <a:rPr lang="ru-RU" sz="1200" b="1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ФИНАНСОВЫЕ СЕРВИСЫ </a:t>
            </a: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в сфере АПК</a:t>
            </a:r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НЕФИНАНСОВЫЕ СЕРВИСЫ </a:t>
            </a: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в сфере АПК</a:t>
            </a:r>
            <a:b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</a:b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(бухгалтерский учет, юридическая поддержка, подбор персонала и т.д.)</a:t>
            </a:r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ПРАВОВЫЕ ОСНОВЫ</a:t>
            </a: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 и </a:t>
            </a:r>
            <a:r>
              <a:rPr lang="ru-RU" sz="1200" b="1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БУХГАЛЕРСКИЙ УЧЕТ</a:t>
            </a: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 крестьянско-фермерских хозяйств,</a:t>
            </a:r>
            <a:b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</a:b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сельскохозяйственных потребительских кооперативов</a:t>
            </a:r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Создание </a:t>
            </a:r>
            <a:r>
              <a:rPr lang="ru-RU" sz="1200" b="1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РЕГИОНАЛЬНОГО БРЕНДА</a:t>
            </a: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, каналы продвижения, выход на экспорт</a:t>
            </a:r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Использование </a:t>
            </a:r>
            <a:r>
              <a:rPr lang="ru-RU" sz="1200" b="1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ГАЗОМОТОРНОГО ТОПЛИВА</a:t>
            </a:r>
            <a:br>
              <a:rPr lang="ru-RU" sz="1200" b="1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</a:b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- </a:t>
            </a: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</a:rPr>
              <a:t>экологические и экономические преимуществах для предприятий АПК*</a:t>
            </a:r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МАРКЕТИНГ</a:t>
            </a: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/>
            </a:r>
            <a:b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</a:b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– требования к качеству и упаковке, техники формирования бренда, каналы продвижения</a:t>
            </a:r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b="1" dirty="0" smtClean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СЕЛЬХОЗКООПЕРАЦИЯ </a:t>
            </a:r>
            <a:r>
              <a:rPr lang="ru-RU" sz="1200" dirty="0" smtClean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– </a:t>
            </a: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создание, развитие кооперативов</a:t>
            </a:r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ТОВАРОПРОВОДЯЩИЕ </a:t>
            </a:r>
            <a:r>
              <a:rPr lang="ru-RU" sz="1200" b="1" dirty="0" smtClean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СХЕМЫ </a:t>
            </a:r>
            <a:r>
              <a:rPr lang="ru-RU" sz="1200" dirty="0" smtClean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– </a:t>
            </a: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организация каналов реализации продукции (офлайн и онлайн)</a:t>
            </a:r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Формирование </a:t>
            </a:r>
            <a:r>
              <a:rPr lang="ru-RU" sz="1200" b="1" dirty="0" err="1" smtClean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БИЗНЕС-ПЛАН</a:t>
            </a:r>
            <a:r>
              <a:rPr lang="ru-RU" sz="1200" dirty="0" err="1" smtClean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а</a:t>
            </a:r>
            <a:r>
              <a:rPr lang="ru-RU" sz="1200" dirty="0" smtClean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 «С </a:t>
            </a: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чего всё начинается?»</a:t>
            </a:r>
          </a:p>
          <a:p>
            <a:pPr marL="285757" indent="-285757" defTabSz="360009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Современные </a:t>
            </a:r>
            <a:r>
              <a:rPr lang="ru-RU" sz="1200" b="1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ЦИФРОВЫЕ РЕШЕНИЯ ДЛЯ ПРОДВИЖЕНИЯ </a:t>
            </a:r>
            <a:r>
              <a:rPr lang="ru-RU" sz="12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rPr>
              <a:t>с/х продукции</a:t>
            </a:r>
          </a:p>
          <a:p>
            <a:pPr algn="ctr"/>
            <a:endParaRPr lang="ru-RU" sz="1200" dirty="0"/>
          </a:p>
        </p:txBody>
      </p:sp>
      <p:sp>
        <p:nvSpPr>
          <p:cNvPr id="8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20188" y="6554394"/>
            <a:ext cx="2727006" cy="153888"/>
          </a:xfrm>
        </p:spPr>
        <p:txBody>
          <a:bodyPr/>
          <a:lstStyle/>
          <a:p>
            <a:fld id="{DAA9B757-E82C-4C61-B4AC-FDC45BBF87A6}" type="slidenum">
              <a:rPr lang="ru-RU" sz="1100" smtClean="0"/>
              <a:pPr/>
              <a:t>8</a:t>
            </a:fld>
            <a:endParaRPr lang="ru-RU" sz="1100" dirty="0"/>
          </a:p>
        </p:txBody>
      </p:sp>
      <p:sp>
        <p:nvSpPr>
          <p:cNvPr id="81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334963" y="6554394"/>
            <a:ext cx="8605837" cy="153888"/>
          </a:xfrm>
        </p:spPr>
        <p:txBody>
          <a:bodyPr/>
          <a:lstStyle/>
          <a:p>
            <a:r>
              <a:rPr lang="ru-RU" sz="1100" b="1" dirty="0"/>
              <a:t>РОССЕЛЬХОЗБАНК: </a:t>
            </a:r>
            <a:r>
              <a:rPr lang="ru-RU" sz="1100" dirty="0"/>
              <a:t>СОВРЕМЕННЫЕ ПОДХОДЫ В ПОДГОТОВКЕ КАДРОВ АГРОПРОМЫШЛЕННОГО </a:t>
            </a:r>
            <a:r>
              <a:rPr lang="ru-RU" sz="1100" dirty="0" smtClean="0"/>
              <a:t>КОМПЛЕКСА </a:t>
            </a:r>
            <a:endParaRPr lang="ru-RU" sz="1100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52038" y="253731"/>
            <a:ext cx="1410934" cy="410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293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Заголовок 1"/>
          <p:cNvSpPr>
            <a:spLocks noGrp="1"/>
          </p:cNvSpPr>
          <p:nvPr>
            <p:ph type="title"/>
          </p:nvPr>
        </p:nvSpPr>
        <p:spPr>
          <a:xfrm>
            <a:off x="307976" y="253731"/>
            <a:ext cx="10144062" cy="743796"/>
          </a:xfrm>
          <a:solidFill>
            <a:srgbClr val="088054"/>
          </a:solidFill>
        </p:spPr>
        <p:txBody>
          <a:bodyPr>
            <a:normAutofit/>
          </a:bodyPr>
          <a:lstStyle/>
          <a:p>
            <a:r>
              <a:rPr lang="ru-RU" sz="3200" dirty="0" smtClean="0">
                <a:solidFill>
                  <a:schemeClr val="bg1"/>
                </a:solidFill>
              </a:rPr>
              <a:t>ОБУЧЕНИЕ ОНЛАЙН </a:t>
            </a:r>
            <a:br>
              <a:rPr lang="ru-RU" sz="3200" dirty="0" smtClean="0">
                <a:solidFill>
                  <a:schemeClr val="bg1"/>
                </a:solidFill>
              </a:rPr>
            </a:br>
            <a:r>
              <a:rPr lang="ru-RU" sz="2200" dirty="0" smtClean="0">
                <a:solidFill>
                  <a:schemeClr val="bg1"/>
                </a:solidFill>
              </a:rPr>
              <a:t> ЦИФРОВАЯ ПЛАТФОРМА С ДОСТУПНЫМИ СЕРВИСАМИ ОБУЧЕНИЯ</a:t>
            </a:r>
            <a:endParaRPr lang="ru-RU" sz="2200" dirty="0">
              <a:solidFill>
                <a:schemeClr val="bg1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7964" y="1693587"/>
            <a:ext cx="6559865" cy="4651651"/>
          </a:xfrm>
          <a:prstGeom prst="rect">
            <a:avLst/>
          </a:prstGeom>
          <a:scene3d>
            <a:camera prst="perspectiveLeft"/>
            <a:lightRig rig="threePt" dir="t"/>
          </a:scene3d>
        </p:spPr>
      </p:pic>
      <p:sp>
        <p:nvSpPr>
          <p:cNvPr id="60" name="TextBox 59"/>
          <p:cNvSpPr txBox="1"/>
          <p:nvPr/>
        </p:nvSpPr>
        <p:spPr>
          <a:xfrm>
            <a:off x="233771" y="1271410"/>
            <a:ext cx="5676084" cy="3395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4250">
              <a:lnSpc>
                <a:spcPct val="120000"/>
              </a:lnSpc>
              <a:spcAft>
                <a:spcPts val="394"/>
              </a:spcAft>
              <a:buClr>
                <a:srgbClr val="258442"/>
              </a:buClr>
            </a:pPr>
            <a:r>
              <a:rPr lang="ru-RU" sz="2000" b="1" spc="-11" dirty="0">
                <a:solidFill>
                  <a:srgbClr val="4DBB50"/>
                </a:solidFill>
                <a:latin typeface="Proxima Nova Rg" panose="02000506030000020004" pitchFamily="2" charset="0"/>
              </a:rPr>
              <a:t>СЕРВИСЫ ДЛЯ СТУДЕНТОВ</a:t>
            </a:r>
          </a:p>
          <a:p>
            <a:pPr marL="630000" indent="-2857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400" b="1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Личный кабинет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 студента</a:t>
            </a:r>
          </a:p>
          <a:p>
            <a:pPr marL="630000" indent="-2857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400" b="1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Расписание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 теоретических и практических занятий</a:t>
            </a:r>
          </a:p>
          <a:p>
            <a:pPr marL="630000" indent="-2857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Подключение к онлайн-урокам </a:t>
            </a:r>
          </a:p>
          <a:p>
            <a:pPr marL="630000" indent="-2857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Чат с преподавателем</a:t>
            </a:r>
          </a:p>
          <a:p>
            <a:pPr marL="630000" indent="-2857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400" b="1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Сохранение записей 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проведенных онлайн-занятий</a:t>
            </a:r>
          </a:p>
          <a:p>
            <a:pPr marL="630000" indent="-2857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400" b="1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Доступ к материалам 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по теоретическому блоку 24</a:t>
            </a:r>
            <a:r>
              <a:rPr lang="en-US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/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7</a:t>
            </a:r>
          </a:p>
          <a:p>
            <a:pPr marL="630000" indent="-2857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Создание проверочных заданий</a:t>
            </a:r>
          </a:p>
          <a:p>
            <a:pPr marL="630000" indent="-2857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Отслеживание прогресса</a:t>
            </a:r>
            <a:r>
              <a:rPr lang="en-US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 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прохождения программы</a:t>
            </a:r>
          </a:p>
          <a:p>
            <a:pPr marL="630000" indent="-2857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400" spc="-11" dirty="0" err="1">
                <a:solidFill>
                  <a:srgbClr val="000000"/>
                </a:solidFill>
                <a:latin typeface="Proxima Nova Rg" panose="02000506030000020004" pitchFamily="2" charset="0"/>
              </a:rPr>
              <a:t>Геймификация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 процесса обучения</a:t>
            </a:r>
          </a:p>
          <a:p>
            <a:pPr marL="630000" indent="-2857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400" b="1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Напоминания о занятиях 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в виде электронных писем или сообщений в мессенджеры</a:t>
            </a: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6F3A43A5-1813-5B41-B8F7-99ABB7AEA3AF}"/>
              </a:ext>
            </a:extLst>
          </p:cNvPr>
          <p:cNvSpPr/>
          <p:nvPr/>
        </p:nvSpPr>
        <p:spPr>
          <a:xfrm>
            <a:off x="233771" y="4739330"/>
            <a:ext cx="5158438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4250">
              <a:lnSpc>
                <a:spcPct val="150000"/>
              </a:lnSpc>
              <a:spcAft>
                <a:spcPts val="394"/>
              </a:spcAft>
              <a:buClr>
                <a:schemeClr val="accent1"/>
              </a:buClr>
            </a:pPr>
            <a:r>
              <a:rPr lang="ru-RU" sz="2000" b="1" spc="-11" dirty="0">
                <a:solidFill>
                  <a:srgbClr val="4DBB50"/>
                </a:solidFill>
                <a:latin typeface="Proxima Nova Rg" panose="02000506030000020004" pitchFamily="2" charset="0"/>
              </a:rPr>
              <a:t>СЕРВИСЫ ДЛЯ </a:t>
            </a:r>
            <a:r>
              <a:rPr lang="ru-RU" sz="2000" b="1" spc="-11" dirty="0" smtClean="0">
                <a:solidFill>
                  <a:srgbClr val="4DBB50"/>
                </a:solidFill>
                <a:latin typeface="Proxima Nova Rg" panose="02000506030000020004" pitchFamily="2" charset="0"/>
              </a:rPr>
              <a:t>ОБУЧЕНИЯ</a:t>
            </a:r>
            <a:endParaRPr lang="ru-RU" sz="2000" b="1" spc="-11" dirty="0">
              <a:solidFill>
                <a:srgbClr val="4DBB50"/>
              </a:solidFill>
              <a:latin typeface="Proxima Nova Rg" panose="02000506030000020004" pitchFamily="2" charset="0"/>
            </a:endParaRPr>
          </a:p>
          <a:p>
            <a:pPr marL="630000" indent="-2857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400" b="1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Выгрузка статистики по </a:t>
            </a:r>
            <a:r>
              <a:rPr lang="ru-RU" sz="1400" b="1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регионам</a:t>
            </a:r>
            <a:r>
              <a:rPr lang="ru-RU" sz="1400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,</a:t>
            </a:r>
            <a:br>
              <a:rPr lang="ru-RU" sz="1400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</a:br>
            <a:r>
              <a:rPr lang="ru-RU" sz="1400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специализации, выбранным 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программам</a:t>
            </a:r>
          </a:p>
          <a:p>
            <a:pPr marL="630000" indent="-2857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Выдача сертификатов от РСХБ по программам</a:t>
            </a:r>
          </a:p>
        </p:txBody>
      </p:sp>
      <p:sp>
        <p:nvSpPr>
          <p:cNvPr id="6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20188" y="6554394"/>
            <a:ext cx="2727006" cy="153888"/>
          </a:xfrm>
        </p:spPr>
        <p:txBody>
          <a:bodyPr/>
          <a:lstStyle/>
          <a:p>
            <a:fld id="{DAA9B757-E82C-4C61-B4AC-FDC45BBF87A6}" type="slidenum">
              <a:rPr lang="ru-RU" sz="1100" smtClean="0"/>
              <a:pPr/>
              <a:t>9</a:t>
            </a:fld>
            <a:endParaRPr lang="ru-RU" sz="1100" dirty="0"/>
          </a:p>
        </p:txBody>
      </p:sp>
      <p:sp>
        <p:nvSpPr>
          <p:cNvPr id="65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334963" y="6554394"/>
            <a:ext cx="8605837" cy="153888"/>
          </a:xfrm>
        </p:spPr>
        <p:txBody>
          <a:bodyPr/>
          <a:lstStyle/>
          <a:p>
            <a:r>
              <a:rPr lang="ru-RU" sz="1100" b="1" dirty="0"/>
              <a:t>РОССЕЛЬХОЗБАНК: </a:t>
            </a:r>
            <a:r>
              <a:rPr lang="ru-RU" sz="1100" dirty="0"/>
              <a:t>СОВРЕМЕННЫЕ ПОДХОДЫ В ПОДГОТОВКЕ КАДРОВ АГРОПРОМЫШЛЕННОГО </a:t>
            </a:r>
            <a:r>
              <a:rPr lang="ru-RU" sz="1100" dirty="0" smtClean="0"/>
              <a:t>КОМПЛЕКСА </a:t>
            </a:r>
            <a:endParaRPr lang="ru-RU" sz="1100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52038" y="253731"/>
            <a:ext cx="1410934" cy="410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978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Шаблон РСХБ_внутренняя презентация">
  <a:themeElements>
    <a:clrScheme name="Пользовательские 2">
      <a:dk1>
        <a:srgbClr val="000000"/>
      </a:dk1>
      <a:lt1>
        <a:srgbClr val="FFFFFF"/>
      </a:lt1>
      <a:dk2>
        <a:srgbClr val="E7E5E5"/>
      </a:dk2>
      <a:lt2>
        <a:srgbClr val="A8A7A9"/>
      </a:lt2>
      <a:accent1>
        <a:srgbClr val="238340"/>
      </a:accent1>
      <a:accent2>
        <a:srgbClr val="69A643"/>
      </a:accent2>
      <a:accent3>
        <a:srgbClr val="A6CE38"/>
      </a:accent3>
      <a:accent4>
        <a:srgbClr val="2B6030"/>
      </a:accent4>
      <a:accent5>
        <a:srgbClr val="FFCB05"/>
      </a:accent5>
      <a:accent6>
        <a:srgbClr val="FCC538"/>
      </a:accent6>
      <a:hlink>
        <a:srgbClr val="238340"/>
      </a:hlink>
      <a:folHlink>
        <a:srgbClr val="A6CE3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езентация14" id="{4FCADD2B-D216-064A-A367-21D0B623CE5B}" vid="{0382296C-F935-B54E-AE1D-D864CACC4032}"/>
    </a:ext>
  </a:extLst>
</a:theme>
</file>

<file path=ppt/theme/theme3.xml><?xml version="1.0" encoding="utf-8"?>
<a:theme xmlns:a="http://schemas.openxmlformats.org/drawingml/2006/main" name="1_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A61A54ED7D42FC41960E47F9861511DD" ma:contentTypeVersion="0" ma:contentTypeDescription="Создание документа." ma:contentTypeScope="" ma:versionID="123bd981d206d05840937fa8c15b911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77B3F59-9975-4A8E-9664-0D1195283FC3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4B8D1BB-1249-49B1-B98E-2226D560B03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951F45-503E-464C-A98C-150FCE2AE3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534</TotalTime>
  <Words>514</Words>
  <Application>Microsoft Office PowerPoint</Application>
  <PresentationFormat>Широкоэкранный</PresentationFormat>
  <Paragraphs>147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6" baseType="lpstr">
      <vt:lpstr>Microsoft JhengHei Light</vt:lpstr>
      <vt:lpstr>.Lucida Grande UI Regular</vt:lpstr>
      <vt:lpstr>Arial</vt:lpstr>
      <vt:lpstr>Arial Narrow</vt:lpstr>
      <vt:lpstr>Calibri</vt:lpstr>
      <vt:lpstr>Calibri Light</vt:lpstr>
      <vt:lpstr>Proxima Nova Rg</vt:lpstr>
      <vt:lpstr>Ristretto Pro</vt:lpstr>
      <vt:lpstr>Symbol</vt:lpstr>
      <vt:lpstr>Wingdings</vt:lpstr>
      <vt:lpstr>Системный шрифт, обычный</vt:lpstr>
      <vt:lpstr>Специальное оформление</vt:lpstr>
      <vt:lpstr>Шаблон РСХБ_внутренняя презентация</vt:lpstr>
      <vt:lpstr>1_Специальное оформление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ОТ ПИЛОТНОГО ЗАПУСКА В 2020 ГОДУ ДО ФЕДЕРАЛЬНОГО ОБРАЗОВАТЕЛЬНОГО ПРОЕКТА В 2022 ГОДУ</vt:lpstr>
      <vt:lpstr>  ШКОЛА ФЕРМЕРА В СВЕРДЛОВСКОЙ ОБЛАСТИ </vt:lpstr>
      <vt:lpstr> ОСНОВНЫЕ ПОЛОЖЕНИЯ ОРГАНИЗАЦИИ ОБУЧЕНИЯ</vt:lpstr>
      <vt:lpstr>Презентация PowerPoint</vt:lpstr>
      <vt:lpstr>ОБУЧЕНИЕ ОНЛАЙН   ЦИФРОВАЯ ПЛАТФОРМА С ДОСТУПНЫМИ СЕРВИСАМИ ОБУЧЕНИЯ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Чисторосов Николай Дмитриевич</dc:creator>
  <cp:lastModifiedBy>Лобачева Анастасия Сергеевна</cp:lastModifiedBy>
  <cp:revision>881</cp:revision>
  <cp:lastPrinted>2021-10-04T13:16:32Z</cp:lastPrinted>
  <dcterms:created xsi:type="dcterms:W3CDTF">2020-10-21T06:35:27Z</dcterms:created>
  <dcterms:modified xsi:type="dcterms:W3CDTF">2022-12-08T09:0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1A54ED7D42FC41960E47F9861511DD</vt:lpwstr>
  </property>
</Properties>
</file>